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drawings/drawing1.xml" ContentType="application/vnd.openxmlformats-officedocument.drawingml.chartshapes+xml"/>
  <Override PartName="/ppt/media/image15.svg" ContentType="image/svg+xml"/>
  <Override PartName="/ppt/media/image17.svg" ContentType="image/svg+xml"/>
  <Override PartName="/ppt/media/image19.svg" ContentType="image/svg+xml"/>
  <Override PartName="/ppt/media/image21.svg" ContentType="image/svg+xml"/>
  <Override PartName="/ppt/media/image23.svg" ContentType="image/svg+xml"/>
  <Override PartName="/ppt/media/image25.svg" ContentType="image/svg+xml"/>
  <Override PartName="/ppt/media/image27.svg" ContentType="image/svg+xml"/>
  <Override PartName="/ppt/media/image29.svg" ContentType="image/svg+xml"/>
  <Override PartName="/ppt/media/image31.svg" ContentType="image/svg+xml"/>
  <Override PartName="/ppt/media/image33.svg" ContentType="image/svg+xml"/>
  <Override PartName="/ppt/media/image35.svg" ContentType="image/svg+xml"/>
  <Override PartName="/ppt/media/image37.svg" ContentType="image/svg+xml"/>
  <Override PartName="/ppt/media/image39.svg" ContentType="image/svg+xml"/>
  <Override PartName="/ppt/media/image4.svg" ContentType="image/svg+xml"/>
  <Override PartName="/ppt/media/image41.svg" ContentType="image/svg+xml"/>
  <Override PartName="/ppt/media/image6.svg" ContentType="image/svg+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
  </p:notesMasterIdLst>
  <p:sldIdLst>
    <p:sldId id="259" r:id="rId2"/>
    <p:sldId id="262" r:id="rId3"/>
  </p:sldIdLst>
  <p:sldSz cx="6858000" cy="9906000" type="A4"/>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F14C3C-EE5B-4F27-99C7-7533D2485734}">
          <p14:sldIdLst>
            <p14:sldId id="259"/>
            <p14:sldId id="262"/>
          </p14:sldIdLst>
        </p14:section>
      </p14:sectionLst>
    </p:ext>
    <p:ext uri="{EFAFB233-063F-42B5-8137-9DF3F51BA10A}">
      <p15:sldGuideLst xmlns:p15="http://schemas.microsoft.com/office/powerpoint/2012/main">
        <p15:guide id="1" pos="144" userDrawn="1">
          <p15:clr>
            <a:srgbClr val="A4A3A4"/>
          </p15:clr>
        </p15:guide>
        <p15:guide id="2" orient="horz"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6004"/>
    <a:srgbClr val="4E7039"/>
    <a:srgbClr val="338B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113D21-A4F0-4C83-A698-9B262FFC7BA6}" v="1651" dt="2025-10-10T15:13:13.8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5" autoAdjust="0"/>
    <p:restoredTop sz="94660"/>
  </p:normalViewPr>
  <p:slideViewPr>
    <p:cSldViewPr snapToGrid="0">
      <p:cViewPr varScale="1">
        <p:scale>
          <a:sx n="67" d="100"/>
          <a:sy n="67" d="100"/>
        </p:scale>
        <p:origin x="2634" y="90"/>
      </p:cViewPr>
      <p:guideLst>
        <p:guide pos="144"/>
        <p:guide orient="horz"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tags" Target="tags/tag1.xml"/><Relationship Id="rId6" Type="http://schemas.openxmlformats.org/officeDocument/2006/relationships/presProps" Target="presProps.xml"/><Relationship Id="rId7" Type="http://schemas.openxmlformats.org/officeDocument/2006/relationships/viewProps" Target="viewProps.xml"/><Relationship Id="rId8" Type="http://schemas.openxmlformats.org/officeDocument/2006/relationships/theme" Target="theme/theme1.xml"/><Relationship Id="rId9" Type="http://schemas.openxmlformats.org/officeDocument/2006/relationships/tableStyles" Target="tableStyles.xml"/><Relationship Id="rId1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ortfolio return USD</c:v>
                </c:pt>
              </c:strCache>
            </c:strRef>
          </c:tx>
          <c:spPr>
            <a:ln w="12700" cap="rnd">
              <a:solidFill>
                <a:srgbClr val="92D050"/>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B$2:$B$1487</c:f>
              <c:numCache>
                <c:formatCode>General</c:formatCode>
                <c:ptCount val="1486"/>
                <c:pt idx="0">
                  <c:v>0.0</c:v>
                </c:pt>
                <c:pt idx="1">
                  <c:v>-0.00785835729466183</c:v>
                </c:pt>
                <c:pt idx="2">
                  <c:v>-0.0207939742467808</c:v>
                </c:pt>
                <c:pt idx="3">
                  <c:v>-0.025476184523065402</c:v>
                </c:pt>
                <c:pt idx="4">
                  <c:v>-0.0251818977372172</c:v>
                </c:pt>
                <c:pt idx="5">
                  <c:v>-0.0251818977372172</c:v>
                </c:pt>
                <c:pt idx="6">
                  <c:v>-0.0251818977372172</c:v>
                </c:pt>
                <c:pt idx="7">
                  <c:v>-0.0350517564695587</c:v>
                </c:pt>
                <c:pt idx="8">
                  <c:v>-0.0392361545193149</c:v>
                </c:pt>
                <c:pt idx="9">
                  <c:v>-0.0329106138267283</c:v>
                </c:pt>
                <c:pt idx="10">
                  <c:v>-0.0408946118264783</c:v>
                </c:pt>
                <c:pt idx="11">
                  <c:v>-0.055104513064133</c:v>
                </c:pt>
                <c:pt idx="12">
                  <c:v>-0.055104513064133</c:v>
                </c:pt>
                <c:pt idx="13">
                  <c:v>-0.055104513064133</c:v>
                </c:pt>
                <c:pt idx="14">
                  <c:v>-0.0832657832229029</c:v>
                </c:pt>
                <c:pt idx="15">
                  <c:v>-0.08245443180397549</c:v>
                </c:pt>
                <c:pt idx="16">
                  <c:v>-0.067043005375672</c:v>
                </c:pt>
                <c:pt idx="17">
                  <c:v>-0.054692711588948596</c:v>
                </c:pt>
                <c:pt idx="18">
                  <c:v>-0.0574114264283035</c:v>
                </c:pt>
                <c:pt idx="19">
                  <c:v>-0.0574114264283035</c:v>
                </c:pt>
                <c:pt idx="20">
                  <c:v>-0.0574114264283035</c:v>
                </c:pt>
                <c:pt idx="21">
                  <c:v>-0.0661256407050881</c:v>
                </c:pt>
                <c:pt idx="22">
                  <c:v>-0.081833604200525</c:v>
                </c:pt>
                <c:pt idx="23">
                  <c:v>-0.0826504563070384</c:v>
                </c:pt>
                <c:pt idx="24">
                  <c:v>-0.086324290536317</c:v>
                </c:pt>
                <c:pt idx="25">
                  <c:v>-0.0822452806600825</c:v>
                </c:pt>
                <c:pt idx="26">
                  <c:v>-0.0822452806600825</c:v>
                </c:pt>
                <c:pt idx="27">
                  <c:v>-0.0822452806600825</c:v>
                </c:pt>
                <c:pt idx="28">
                  <c:v>-0.0974991873984248</c:v>
                </c:pt>
                <c:pt idx="29">
                  <c:v>-0.0869657457182148</c:v>
                </c:pt>
                <c:pt idx="30">
                  <c:v>-0.0923805475684461</c:v>
                </c:pt>
                <c:pt idx="31">
                  <c:v>-0.073956994624328</c:v>
                </c:pt>
                <c:pt idx="32">
                  <c:v>-0.0737954744343043</c:v>
                </c:pt>
                <c:pt idx="33">
                  <c:v>-0.0737954744343043</c:v>
                </c:pt>
                <c:pt idx="34">
                  <c:v>-0.0737954744343043</c:v>
                </c:pt>
                <c:pt idx="35">
                  <c:v>-0.0711551443930491</c:v>
                </c:pt>
                <c:pt idx="36">
                  <c:v>-0.0722230278784848</c:v>
                </c:pt>
                <c:pt idx="37">
                  <c:v>-0.059576447055882</c:v>
                </c:pt>
                <c:pt idx="38">
                  <c:v>-0.044168896112014</c:v>
                </c:pt>
                <c:pt idx="39">
                  <c:v>-0.0207270908863608</c:v>
                </c:pt>
                <c:pt idx="40">
                  <c:v>-0.0207270908863608</c:v>
                </c:pt>
                <c:pt idx="41">
                  <c:v>-0.0207270908863608</c:v>
                </c:pt>
                <c:pt idx="42">
                  <c:v>-0.0141433929241155</c:v>
                </c:pt>
                <c:pt idx="43">
                  <c:v>-0.00552794099262408</c:v>
                </c:pt>
                <c:pt idx="44">
                  <c:v>0.005507688461057631</c:v>
                </c:pt>
                <c:pt idx="45">
                  <c:v>-0.00122377797224653</c:v>
                </c:pt>
                <c:pt idx="46">
                  <c:v>-0.00336579572446556</c:v>
                </c:pt>
                <c:pt idx="47">
                  <c:v>-0.00336579572446556</c:v>
                </c:pt>
                <c:pt idx="48">
                  <c:v>-0.00336579572446556</c:v>
                </c:pt>
                <c:pt idx="49">
                  <c:v>0.006501437679709961</c:v>
                </c:pt>
                <c:pt idx="50">
                  <c:v>0.0107407175896987</c:v>
                </c:pt>
                <c:pt idx="51">
                  <c:v>-0.00713826728341043</c:v>
                </c:pt>
                <c:pt idx="52">
                  <c:v>-0.000158144768096012</c:v>
                </c:pt>
                <c:pt idx="53">
                  <c:v>0.00678172271533942</c:v>
                </c:pt>
                <c:pt idx="54">
                  <c:v>0.00678172271533942</c:v>
                </c:pt>
                <c:pt idx="55">
                  <c:v>0.00678172271533942</c:v>
                </c:pt>
                <c:pt idx="56">
                  <c:v>0.0036755844480560102</c:v>
                </c:pt>
                <c:pt idx="57">
                  <c:v>0.005485810726340789</c:v>
                </c:pt>
                <c:pt idx="58">
                  <c:v>0.00323590448806101</c:v>
                </c:pt>
                <c:pt idx="59">
                  <c:v>0.0221750218777347</c:v>
                </c:pt>
                <c:pt idx="60">
                  <c:v>0.0228597324665583</c:v>
                </c:pt>
                <c:pt idx="61">
                  <c:v>0.0228597324665583</c:v>
                </c:pt>
                <c:pt idx="62">
                  <c:v>0.0228597324665583</c:v>
                </c:pt>
                <c:pt idx="63">
                  <c:v>0.028414676834604302</c:v>
                </c:pt>
                <c:pt idx="64">
                  <c:v>0.027270533816727102</c:v>
                </c:pt>
                <c:pt idx="65">
                  <c:v>0.0101550193774222</c:v>
                </c:pt>
                <c:pt idx="66">
                  <c:v>0.019417552194024298</c:v>
                </c:pt>
                <c:pt idx="67">
                  <c:v>0.0263301662707838</c:v>
                </c:pt>
                <c:pt idx="68">
                  <c:v>0.0263301662707838</c:v>
                </c:pt>
                <c:pt idx="69">
                  <c:v>0.0263301662707838</c:v>
                </c:pt>
                <c:pt idx="70">
                  <c:v>0.019713589198649798</c:v>
                </c:pt>
                <c:pt idx="71">
                  <c:v>0.025503812976622096</c:v>
                </c:pt>
                <c:pt idx="72">
                  <c:v>0.023593199149893704</c:v>
                </c:pt>
                <c:pt idx="73">
                  <c:v>0.020140017502187798</c:v>
                </c:pt>
                <c:pt idx="74">
                  <c:v>0.0157919739967496</c:v>
                </c:pt>
                <c:pt idx="75">
                  <c:v>0.0157919739967496</c:v>
                </c:pt>
                <c:pt idx="76">
                  <c:v>0.0157919739967496</c:v>
                </c:pt>
                <c:pt idx="77">
                  <c:v>0.011686210776347</c:v>
                </c:pt>
                <c:pt idx="78">
                  <c:v>0.00459107388423553</c:v>
                </c:pt>
                <c:pt idx="79">
                  <c:v>-0.0138079759969996</c:v>
                </c:pt>
                <c:pt idx="80">
                  <c:v>-0.012232404050506301</c:v>
                </c:pt>
                <c:pt idx="81">
                  <c:v>-0.043168896112014</c:v>
                </c:pt>
                <c:pt idx="82">
                  <c:v>-0.043168896112014</c:v>
                </c:pt>
                <c:pt idx="83">
                  <c:v>-0.043168896112014</c:v>
                </c:pt>
                <c:pt idx="84">
                  <c:v>-0.0316643330416302</c:v>
                </c:pt>
                <c:pt idx="85">
                  <c:v>-0.05117152144018</c:v>
                </c:pt>
                <c:pt idx="86">
                  <c:v>-0.0574165520690086</c:v>
                </c:pt>
                <c:pt idx="87">
                  <c:v>-0.0467155894486811</c:v>
                </c:pt>
                <c:pt idx="88">
                  <c:v>-0.0663081635204401</c:v>
                </c:pt>
                <c:pt idx="89">
                  <c:v>-0.0663081635204401</c:v>
                </c:pt>
                <c:pt idx="90">
                  <c:v>-0.0663081635204401</c:v>
                </c:pt>
                <c:pt idx="91">
                  <c:v>-0.0636775846980873</c:v>
                </c:pt>
                <c:pt idx="92">
                  <c:v>-0.0307317164645581</c:v>
                </c:pt>
                <c:pt idx="93">
                  <c:v>-0.0221196399549944</c:v>
                </c:pt>
                <c:pt idx="94">
                  <c:v>-0.0324573071633954</c:v>
                </c:pt>
                <c:pt idx="95">
                  <c:v>-0.0367653456682085</c:v>
                </c:pt>
                <c:pt idx="96">
                  <c:v>-0.0367653456682085</c:v>
                </c:pt>
                <c:pt idx="97">
                  <c:v>-0.0367653456682085</c:v>
                </c:pt>
                <c:pt idx="98">
                  <c:v>-0.0482977872234029</c:v>
                </c:pt>
                <c:pt idx="99">
                  <c:v>-0.0663435429428679</c:v>
                </c:pt>
                <c:pt idx="100">
                  <c:v>-0.0570248781097637</c:v>
                </c:pt>
                <c:pt idx="101">
                  <c:v>-0.0629332416552069</c:v>
                </c:pt>
                <c:pt idx="102">
                  <c:v>-0.0750661332666583</c:v>
                </c:pt>
                <c:pt idx="103">
                  <c:v>-0.0750661332666583</c:v>
                </c:pt>
                <c:pt idx="104">
                  <c:v>-0.0750661332666583</c:v>
                </c:pt>
                <c:pt idx="105">
                  <c:v>-0.0938162270283786</c:v>
                </c:pt>
                <c:pt idx="106">
                  <c:v>-0.0707439679959995</c:v>
                </c:pt>
                <c:pt idx="107">
                  <c:v>-0.059377172146518296</c:v>
                </c:pt>
                <c:pt idx="108">
                  <c:v>-0.0488093511688961</c:v>
                </c:pt>
                <c:pt idx="109">
                  <c:v>-0.0494791848981123</c:v>
                </c:pt>
                <c:pt idx="110">
                  <c:v>-0.0494791848981123</c:v>
                </c:pt>
                <c:pt idx="111">
                  <c:v>-0.0494791848981123</c:v>
                </c:pt>
                <c:pt idx="112">
                  <c:v>-0.0409054881860233</c:v>
                </c:pt>
                <c:pt idx="113">
                  <c:v>-0.0485980747593449</c:v>
                </c:pt>
                <c:pt idx="114">
                  <c:v>-0.052422177772221495</c:v>
                </c:pt>
                <c:pt idx="115">
                  <c:v>-0.0534221777722215</c:v>
                </c:pt>
                <c:pt idx="116">
                  <c:v>-0.053419177397174604</c:v>
                </c:pt>
                <c:pt idx="117">
                  <c:v>-0.053419177397174604</c:v>
                </c:pt>
                <c:pt idx="118">
                  <c:v>-0.053419177397174604</c:v>
                </c:pt>
                <c:pt idx="119">
                  <c:v>-0.047924490561320206</c:v>
                </c:pt>
                <c:pt idx="120">
                  <c:v>-0.050874109263658006</c:v>
                </c:pt>
                <c:pt idx="121">
                  <c:v>-0.0735768221027628</c:v>
                </c:pt>
                <c:pt idx="122">
                  <c:v>-0.0789348668583573</c:v>
                </c:pt>
                <c:pt idx="123">
                  <c:v>-0.0857304663082885</c:v>
                </c:pt>
                <c:pt idx="124">
                  <c:v>-0.0857304663082885</c:v>
                </c:pt>
                <c:pt idx="125">
                  <c:v>-0.0857304663082885</c:v>
                </c:pt>
                <c:pt idx="126">
                  <c:v>-0.0904595574446806</c:v>
                </c:pt>
                <c:pt idx="127">
                  <c:v>-0.0652192774096762</c:v>
                </c:pt>
                <c:pt idx="128">
                  <c:v>-0.041418927365920705</c:v>
                </c:pt>
                <c:pt idx="129">
                  <c:v>-0.055172271533941705</c:v>
                </c:pt>
                <c:pt idx="130">
                  <c:v>-0.0622972871608951</c:v>
                </c:pt>
                <c:pt idx="131">
                  <c:v>-0.0622972871608951</c:v>
                </c:pt>
                <c:pt idx="132">
                  <c:v>-0.0622972871608951</c:v>
                </c:pt>
                <c:pt idx="133">
                  <c:v>-0.06196512064008</c:v>
                </c:pt>
                <c:pt idx="134">
                  <c:v>-0.0811726465808226</c:v>
                </c:pt>
                <c:pt idx="135">
                  <c:v>-0.0813361670208776</c:v>
                </c:pt>
                <c:pt idx="136">
                  <c:v>-0.0826870858857357</c:v>
                </c:pt>
                <c:pt idx="137">
                  <c:v>-0.110029253656707</c:v>
                </c:pt>
                <c:pt idx="138">
                  <c:v>-0.110029253656707</c:v>
                </c:pt>
                <c:pt idx="139">
                  <c:v>-0.110029253656707</c:v>
                </c:pt>
                <c:pt idx="140">
                  <c:v>-0.124422177772222</c:v>
                </c:pt>
                <c:pt idx="141">
                  <c:v>-0.14111638954869402</c:v>
                </c:pt>
                <c:pt idx="142">
                  <c:v>-0.139380547568446</c:v>
                </c:pt>
                <c:pt idx="143">
                  <c:v>-0.148109513689211</c:v>
                </c:pt>
                <c:pt idx="144">
                  <c:v>-0.137767970996375</c:v>
                </c:pt>
                <c:pt idx="145">
                  <c:v>-0.137767970996375</c:v>
                </c:pt>
                <c:pt idx="146">
                  <c:v>-0.137767970996375</c:v>
                </c:pt>
                <c:pt idx="147">
                  <c:v>-0.113366295786973</c:v>
                </c:pt>
                <c:pt idx="148">
                  <c:v>-0.101318289786223</c:v>
                </c:pt>
                <c:pt idx="149">
                  <c:v>-0.0972930366295787</c:v>
                </c:pt>
                <c:pt idx="150">
                  <c:v>-0.120311413926741</c:v>
                </c:pt>
                <c:pt idx="151">
                  <c:v>-0.10863570446305801</c:v>
                </c:pt>
                <c:pt idx="152">
                  <c:v>-0.10863570446305801</c:v>
                </c:pt>
                <c:pt idx="153">
                  <c:v>-0.10863570446305801</c:v>
                </c:pt>
                <c:pt idx="154">
                  <c:v>-0.10484735591949</c:v>
                </c:pt>
                <c:pt idx="155">
                  <c:v>-0.10007796965074</c:v>
                </c:pt>
                <c:pt idx="156">
                  <c:v>-0.0758160295922362</c:v>
                </c:pt>
                <c:pt idx="157">
                  <c:v>-0.0799896077990861</c:v>
                </c:pt>
                <c:pt idx="158">
                  <c:v>-0.0981340552738101</c:v>
                </c:pt>
                <c:pt idx="159">
                  <c:v>-0.0981340552738101</c:v>
                </c:pt>
                <c:pt idx="160">
                  <c:v>-0.0981340552738101</c:v>
                </c:pt>
                <c:pt idx="161">
                  <c:v>-0.10669824102665199</c:v>
                </c:pt>
                <c:pt idx="162">
                  <c:v>-0.08836177459435661</c:v>
                </c:pt>
                <c:pt idx="163">
                  <c:v>-0.08308991767219</c:v>
                </c:pt>
                <c:pt idx="164">
                  <c:v>-0.11133379721600599</c:v>
                </c:pt>
                <c:pt idx="165">
                  <c:v>-0.126214155459371</c:v>
                </c:pt>
                <c:pt idx="166">
                  <c:v>-0.126214155459371</c:v>
                </c:pt>
                <c:pt idx="167">
                  <c:v>-0.126214155459371</c:v>
                </c:pt>
                <c:pt idx="168">
                  <c:v>-0.133443324097504</c:v>
                </c:pt>
                <c:pt idx="169">
                  <c:v>-0.139628095193945</c:v>
                </c:pt>
                <c:pt idx="170">
                  <c:v>-0.14714780143176</c:v>
                </c:pt>
                <c:pt idx="171">
                  <c:v>-0.142938356480906</c:v>
                </c:pt>
                <c:pt idx="172">
                  <c:v>-0.120660218931918</c:v>
                </c:pt>
                <c:pt idx="173">
                  <c:v>-0.120660218931918</c:v>
                </c:pt>
                <c:pt idx="174">
                  <c:v>-0.120660218931918</c:v>
                </c:pt>
                <c:pt idx="175">
                  <c:v>-0.121908157559512</c:v>
                </c:pt>
                <c:pt idx="176">
                  <c:v>-0.137257989413856</c:v>
                </c:pt>
                <c:pt idx="177">
                  <c:v>-0.129588346002671</c:v>
                </c:pt>
                <c:pt idx="178">
                  <c:v>-0.130086635520272</c:v>
                </c:pt>
                <c:pt idx="179">
                  <c:v>-0.14681942899551198</c:v>
                </c:pt>
                <c:pt idx="180">
                  <c:v>-0.14681942899551198</c:v>
                </c:pt>
                <c:pt idx="181">
                  <c:v>-0.14681942899551198</c:v>
                </c:pt>
                <c:pt idx="182">
                  <c:v>-0.17777651780418802</c:v>
                </c:pt>
                <c:pt idx="183">
                  <c:v>-0.17548719678118002</c:v>
                </c:pt>
                <c:pt idx="184">
                  <c:v>-0.14592174317232598</c:v>
                </c:pt>
                <c:pt idx="185">
                  <c:v>-0.148702533491416</c:v>
                </c:pt>
                <c:pt idx="186">
                  <c:v>-0.16044044473463898</c:v>
                </c:pt>
                <c:pt idx="187">
                  <c:v>-0.16044044473463898</c:v>
                </c:pt>
                <c:pt idx="188">
                  <c:v>-0.16044044473463898</c:v>
                </c:pt>
                <c:pt idx="189">
                  <c:v>-0.177092532255244</c:v>
                </c:pt>
                <c:pt idx="190">
                  <c:v>-0.173433276737247</c:v>
                </c:pt>
                <c:pt idx="191">
                  <c:v>-0.13294079488903</c:v>
                </c:pt>
                <c:pt idx="192">
                  <c:v>-0.118025383775063</c:v>
                </c:pt>
                <c:pt idx="193">
                  <c:v>-0.10608544930353</c:v>
                </c:pt>
                <c:pt idx="194">
                  <c:v>-0.10608544930353</c:v>
                </c:pt>
                <c:pt idx="195">
                  <c:v>-0.10608544930353</c:v>
                </c:pt>
                <c:pt idx="196">
                  <c:v>-0.109185756667088</c:v>
                </c:pt>
                <c:pt idx="197">
                  <c:v>-0.09889641913969481</c:v>
                </c:pt>
                <c:pt idx="198">
                  <c:v>-0.106631893718518</c:v>
                </c:pt>
                <c:pt idx="199">
                  <c:v>-0.09680591790761771</c:v>
                </c:pt>
                <c:pt idx="200">
                  <c:v>-0.0992207930085772</c:v>
                </c:pt>
                <c:pt idx="201">
                  <c:v>-0.0992207930085772</c:v>
                </c:pt>
                <c:pt idx="202">
                  <c:v>-0.0992207930085772</c:v>
                </c:pt>
                <c:pt idx="203">
                  <c:v>-0.0905145735669691</c:v>
                </c:pt>
                <c:pt idx="204">
                  <c:v>-0.072169314386078</c:v>
                </c:pt>
                <c:pt idx="205">
                  <c:v>-0.0733572729705545</c:v>
                </c:pt>
                <c:pt idx="206">
                  <c:v>-0.0871779351941297</c:v>
                </c:pt>
                <c:pt idx="207">
                  <c:v>-0.0820000436847036</c:v>
                </c:pt>
                <c:pt idx="208">
                  <c:v>-0.0820000436847036</c:v>
                </c:pt>
                <c:pt idx="209">
                  <c:v>-0.0820000436847036</c:v>
                </c:pt>
                <c:pt idx="210">
                  <c:v>-0.0749195170450252</c:v>
                </c:pt>
                <c:pt idx="211">
                  <c:v>-0.09300478111469991</c:v>
                </c:pt>
                <c:pt idx="212">
                  <c:v>-0.11344725841249699</c:v>
                </c:pt>
                <c:pt idx="213">
                  <c:v>-0.11460039253255401</c:v>
                </c:pt>
                <c:pt idx="214">
                  <c:v>-0.116794643801062</c:v>
                </c:pt>
                <c:pt idx="215">
                  <c:v>-0.116794643801062</c:v>
                </c:pt>
                <c:pt idx="216">
                  <c:v>-0.116794643801062</c:v>
                </c:pt>
                <c:pt idx="217">
                  <c:v>-0.137053491801311</c:v>
                </c:pt>
                <c:pt idx="218">
                  <c:v>-0.139456689856337</c:v>
                </c:pt>
                <c:pt idx="219">
                  <c:v>-0.125865951767284</c:v>
                </c:pt>
                <c:pt idx="220">
                  <c:v>-0.137066718897589</c:v>
                </c:pt>
                <c:pt idx="221">
                  <c:v>-0.137295919675283</c:v>
                </c:pt>
                <c:pt idx="222">
                  <c:v>-0.137295919675283</c:v>
                </c:pt>
                <c:pt idx="223">
                  <c:v>-0.137295919675283</c:v>
                </c:pt>
                <c:pt idx="224">
                  <c:v>-0.134131026880679</c:v>
                </c:pt>
                <c:pt idx="225">
                  <c:v>-0.12181422350191</c:v>
                </c:pt>
                <c:pt idx="226">
                  <c:v>-0.12184005767432801</c:v>
                </c:pt>
                <c:pt idx="227">
                  <c:v>-0.142900178366298</c:v>
                </c:pt>
                <c:pt idx="228">
                  <c:v>-0.165337673794915</c:v>
                </c:pt>
                <c:pt idx="229">
                  <c:v>-0.165337673794915</c:v>
                </c:pt>
                <c:pt idx="230">
                  <c:v>-0.165337673794915</c:v>
                </c:pt>
                <c:pt idx="231">
                  <c:v>-0.17327207150135798</c:v>
                </c:pt>
                <c:pt idx="232">
                  <c:v>-0.193248293655352</c:v>
                </c:pt>
                <c:pt idx="233">
                  <c:v>-0.187070309663274</c:v>
                </c:pt>
                <c:pt idx="234">
                  <c:v>-0.16220171527342</c:v>
                </c:pt>
                <c:pt idx="235">
                  <c:v>-0.172974151825032</c:v>
                </c:pt>
                <c:pt idx="236">
                  <c:v>-0.172974151825032</c:v>
                </c:pt>
                <c:pt idx="237">
                  <c:v>-0.172974151825032</c:v>
                </c:pt>
                <c:pt idx="238">
                  <c:v>-0.17424343638428097</c:v>
                </c:pt>
                <c:pt idx="239">
                  <c:v>-0.16619939845009502</c:v>
                </c:pt>
                <c:pt idx="240">
                  <c:v>-0.14223985691929</c:v>
                </c:pt>
                <c:pt idx="241">
                  <c:v>-0.163894370250257</c:v>
                </c:pt>
                <c:pt idx="242">
                  <c:v>-0.176720210162354</c:v>
                </c:pt>
                <c:pt idx="243">
                  <c:v>-0.176720210162354</c:v>
                </c:pt>
                <c:pt idx="244">
                  <c:v>-0.176720210162354</c:v>
                </c:pt>
                <c:pt idx="245">
                  <c:v>-0.20960545826363097</c:v>
                </c:pt>
                <c:pt idx="246">
                  <c:v>-0.21144712474697702</c:v>
                </c:pt>
                <c:pt idx="247">
                  <c:v>-0.218979542730594</c:v>
                </c:pt>
                <c:pt idx="248">
                  <c:v>-0.224102562457804</c:v>
                </c:pt>
                <c:pt idx="249">
                  <c:v>-0.195634131146513</c:v>
                </c:pt>
                <c:pt idx="250">
                  <c:v>-0.195634131146513</c:v>
                </c:pt>
                <c:pt idx="251">
                  <c:v>-0.195634131146513</c:v>
                </c:pt>
                <c:pt idx="252">
                  <c:v>-0.19850461771224</c:v>
                </c:pt>
                <c:pt idx="253">
                  <c:v>-0.170119269099446</c:v>
                </c:pt>
                <c:pt idx="254">
                  <c:v>-0.196135004081357</c:v>
                </c:pt>
                <c:pt idx="255">
                  <c:v>-0.197820322153227</c:v>
                </c:pt>
                <c:pt idx="256">
                  <c:v>-0.19452811855694702</c:v>
                </c:pt>
                <c:pt idx="257">
                  <c:v>-0.19452811855694702</c:v>
                </c:pt>
                <c:pt idx="258">
                  <c:v>-0.19452811855694702</c:v>
                </c:pt>
                <c:pt idx="259">
                  <c:v>-0.18118745525690103</c:v>
                </c:pt>
                <c:pt idx="260">
                  <c:v>-0.19203274417473298</c:v>
                </c:pt>
                <c:pt idx="261">
                  <c:v>-0.185926992528736</c:v>
                </c:pt>
                <c:pt idx="262">
                  <c:v>-0.171219288161011</c:v>
                </c:pt>
                <c:pt idx="263">
                  <c:v>-0.146645100000034</c:v>
                </c:pt>
                <c:pt idx="264">
                  <c:v>-0.146645100000034</c:v>
                </c:pt>
                <c:pt idx="265">
                  <c:v>-0.146645100000034</c:v>
                </c:pt>
                <c:pt idx="266">
                  <c:v>-0.139279260760169</c:v>
                </c:pt>
                <c:pt idx="267">
                  <c:v>-0.143179807448552</c:v>
                </c:pt>
                <c:pt idx="268">
                  <c:v>-0.154015899401003</c:v>
                </c:pt>
                <c:pt idx="269">
                  <c:v>-0.137315140299562</c:v>
                </c:pt>
                <c:pt idx="270">
                  <c:v>-0.149478385357478</c:v>
                </c:pt>
                <c:pt idx="271">
                  <c:v>-0.149478385357478</c:v>
                </c:pt>
                <c:pt idx="272">
                  <c:v>-0.149478385357478</c:v>
                </c:pt>
                <c:pt idx="273">
                  <c:v>-0.143846225760251</c:v>
                </c:pt>
                <c:pt idx="274">
                  <c:v>-0.14238700836538398</c:v>
                </c:pt>
                <c:pt idx="275">
                  <c:v>-0.145276095535251</c:v>
                </c:pt>
                <c:pt idx="276">
                  <c:v>-0.164760125036334</c:v>
                </c:pt>
                <c:pt idx="277">
                  <c:v>-0.1830954588358</c:v>
                </c:pt>
                <c:pt idx="278">
                  <c:v>-0.1830954588358</c:v>
                </c:pt>
                <c:pt idx="279">
                  <c:v>-0.1830954588358</c:v>
                </c:pt>
                <c:pt idx="280">
                  <c:v>-0.219499717905322</c:v>
                </c:pt>
                <c:pt idx="281">
                  <c:v>-0.22102011241926298</c:v>
                </c:pt>
                <c:pt idx="282">
                  <c:v>-0.21011757659028</c:v>
                </c:pt>
                <c:pt idx="283">
                  <c:v>-0.237023386807798</c:v>
                </c:pt>
                <c:pt idx="284">
                  <c:v>-0.232485526969913</c:v>
                </c:pt>
                <c:pt idx="285">
                  <c:v>-0.232485526969913</c:v>
                </c:pt>
                <c:pt idx="286">
                  <c:v>-0.232485526969913</c:v>
                </c:pt>
                <c:pt idx="287">
                  <c:v>-0.228192617853814</c:v>
                </c:pt>
                <c:pt idx="288">
                  <c:v>-0.214679278436634</c:v>
                </c:pt>
                <c:pt idx="289">
                  <c:v>-0.224483941606099</c:v>
                </c:pt>
                <c:pt idx="290">
                  <c:v>-0.223219278548208</c:v>
                </c:pt>
                <c:pt idx="291">
                  <c:v>-0.19772014683032801</c:v>
                </c:pt>
                <c:pt idx="292">
                  <c:v>-0.19772014683032801</c:v>
                </c:pt>
                <c:pt idx="293">
                  <c:v>-0.19772014683032801</c:v>
                </c:pt>
                <c:pt idx="294">
                  <c:v>-0.194514536961296</c:v>
                </c:pt>
                <c:pt idx="295">
                  <c:v>-0.209538526767217</c:v>
                </c:pt>
                <c:pt idx="296">
                  <c:v>-0.220536534290979</c:v>
                </c:pt>
                <c:pt idx="297">
                  <c:v>-0.234228377788954</c:v>
                </c:pt>
                <c:pt idx="298">
                  <c:v>-0.23661247497489002</c:v>
                </c:pt>
                <c:pt idx="299">
                  <c:v>-0.23661247497489002</c:v>
                </c:pt>
                <c:pt idx="300">
                  <c:v>-0.23661247497489002</c:v>
                </c:pt>
                <c:pt idx="301">
                  <c:v>-0.238915716653845</c:v>
                </c:pt>
                <c:pt idx="302">
                  <c:v>-0.2440522182261</c:v>
                </c:pt>
                <c:pt idx="303">
                  <c:v>-0.242082971987515</c:v>
                </c:pt>
                <c:pt idx="304">
                  <c:v>-0.220394726171046</c:v>
                </c:pt>
                <c:pt idx="305">
                  <c:v>-0.217800301006056</c:v>
                </c:pt>
                <c:pt idx="306">
                  <c:v>-0.217800301006056</c:v>
                </c:pt>
                <c:pt idx="307">
                  <c:v>-0.217800301006056</c:v>
                </c:pt>
                <c:pt idx="308">
                  <c:v>-0.236003985454413</c:v>
                </c:pt>
                <c:pt idx="309">
                  <c:v>-0.23986535421723298</c:v>
                </c:pt>
                <c:pt idx="310">
                  <c:v>-0.241660864776718</c:v>
                </c:pt>
                <c:pt idx="311">
                  <c:v>-0.247141105914544</c:v>
                </c:pt>
                <c:pt idx="312">
                  <c:v>-0.236612682296702</c:v>
                </c:pt>
                <c:pt idx="313">
                  <c:v>-0.236612682296702</c:v>
                </c:pt>
                <c:pt idx="314">
                  <c:v>-0.236612682296702</c:v>
                </c:pt>
                <c:pt idx="315">
                  <c:v>-0.229574003092293</c:v>
                </c:pt>
                <c:pt idx="316">
                  <c:v>-0.213592601155006</c:v>
                </c:pt>
                <c:pt idx="317">
                  <c:v>-0.204712489609583</c:v>
                </c:pt>
                <c:pt idx="318">
                  <c:v>-0.202251579692017</c:v>
                </c:pt>
                <c:pt idx="319">
                  <c:v>-0.207765199641698</c:v>
                </c:pt>
                <c:pt idx="320">
                  <c:v>-0.207765199641698</c:v>
                </c:pt>
                <c:pt idx="321">
                  <c:v>-0.207765199641698</c:v>
                </c:pt>
                <c:pt idx="322">
                  <c:v>-0.212015607786179</c:v>
                </c:pt>
                <c:pt idx="323">
                  <c:v>-0.221787928752852</c:v>
                </c:pt>
                <c:pt idx="324">
                  <c:v>-0.21019397467828602</c:v>
                </c:pt>
                <c:pt idx="325">
                  <c:v>-0.197691640081072</c:v>
                </c:pt>
                <c:pt idx="326">
                  <c:v>-0.188342877577886</c:v>
                </c:pt>
                <c:pt idx="327">
                  <c:v>-0.188342877577886</c:v>
                </c:pt>
                <c:pt idx="328">
                  <c:v>-0.188342877577886</c:v>
                </c:pt>
                <c:pt idx="329">
                  <c:v>-0.184793009838751</c:v>
                </c:pt>
                <c:pt idx="330">
                  <c:v>-0.191743162629108</c:v>
                </c:pt>
                <c:pt idx="331">
                  <c:v>-0.179475827306668</c:v>
                </c:pt>
                <c:pt idx="332">
                  <c:v>-0.16785367746556498</c:v>
                </c:pt>
                <c:pt idx="333">
                  <c:v>-0.168986483850534</c:v>
                </c:pt>
                <c:pt idx="334">
                  <c:v>-0.168986483850534</c:v>
                </c:pt>
                <c:pt idx="335">
                  <c:v>-0.168986483850534</c:v>
                </c:pt>
                <c:pt idx="336">
                  <c:v>-0.171310043067141</c:v>
                </c:pt>
                <c:pt idx="337">
                  <c:v>-0.178638972809427</c:v>
                </c:pt>
                <c:pt idx="338">
                  <c:v>-0.155849433523529</c:v>
                </c:pt>
                <c:pt idx="339">
                  <c:v>-0.153426670819512</c:v>
                </c:pt>
                <c:pt idx="340">
                  <c:v>-0.144904085740209</c:v>
                </c:pt>
                <c:pt idx="341">
                  <c:v>-0.144904085740209</c:v>
                </c:pt>
                <c:pt idx="342">
                  <c:v>-0.144904085740209</c:v>
                </c:pt>
                <c:pt idx="343">
                  <c:v>-0.145432963684583</c:v>
                </c:pt>
                <c:pt idx="344">
                  <c:v>-0.142617118823556</c:v>
                </c:pt>
                <c:pt idx="345">
                  <c:v>-0.152838809819406</c:v>
                </c:pt>
                <c:pt idx="346">
                  <c:v>-0.15294734278839</c:v>
                </c:pt>
                <c:pt idx="347">
                  <c:v>-0.163262017617266</c:v>
                </c:pt>
                <c:pt idx="348">
                  <c:v>-0.163262017617266</c:v>
                </c:pt>
                <c:pt idx="349">
                  <c:v>-0.163262017617266</c:v>
                </c:pt>
                <c:pt idx="350">
                  <c:v>-0.17724193477408398</c:v>
                </c:pt>
                <c:pt idx="351">
                  <c:v>-0.17841392498166597</c:v>
                </c:pt>
                <c:pt idx="352">
                  <c:v>-0.178551379343532</c:v>
                </c:pt>
                <c:pt idx="353">
                  <c:v>-0.164506052154786</c:v>
                </c:pt>
                <c:pt idx="354">
                  <c:v>-0.184784095000802</c:v>
                </c:pt>
                <c:pt idx="355">
                  <c:v>-0.184784095000802</c:v>
                </c:pt>
                <c:pt idx="356">
                  <c:v>-0.184784095000802</c:v>
                </c:pt>
                <c:pt idx="357">
                  <c:v>-0.189624541024423</c:v>
                </c:pt>
                <c:pt idx="358">
                  <c:v>-0.19788714455051298</c:v>
                </c:pt>
                <c:pt idx="359">
                  <c:v>-0.203576677058329</c:v>
                </c:pt>
                <c:pt idx="360">
                  <c:v>-0.219690764955789</c:v>
                </c:pt>
                <c:pt idx="361">
                  <c:v>-0.221331924425667</c:v>
                </c:pt>
                <c:pt idx="362">
                  <c:v>-0.221331924425667</c:v>
                </c:pt>
                <c:pt idx="363">
                  <c:v>-0.221331924425667</c:v>
                </c:pt>
                <c:pt idx="364">
                  <c:v>-0.228278552745207</c:v>
                </c:pt>
                <c:pt idx="365">
                  <c:v>-0.22952735568442</c:v>
                </c:pt>
                <c:pt idx="366">
                  <c:v>-0.220197459466196</c:v>
                </c:pt>
                <c:pt idx="367">
                  <c:v>-0.216921463841729</c:v>
                </c:pt>
                <c:pt idx="368">
                  <c:v>-0.20338055062344998</c:v>
                </c:pt>
                <c:pt idx="369">
                  <c:v>-0.20338055062344998</c:v>
                </c:pt>
                <c:pt idx="370">
                  <c:v>-0.20338055062344998</c:v>
                </c:pt>
                <c:pt idx="371">
                  <c:v>-0.19336638876218198</c:v>
                </c:pt>
                <c:pt idx="372">
                  <c:v>-0.222324373943392</c:v>
                </c:pt>
                <c:pt idx="373">
                  <c:v>-0.22224300013188</c:v>
                </c:pt>
                <c:pt idx="374">
                  <c:v>-0.235066890860698</c:v>
                </c:pt>
                <c:pt idx="375">
                  <c:v>-0.242947192964042</c:v>
                </c:pt>
                <c:pt idx="376">
                  <c:v>-0.242947192964042</c:v>
                </c:pt>
                <c:pt idx="377">
                  <c:v>-0.242947192964042</c:v>
                </c:pt>
                <c:pt idx="378">
                  <c:v>-0.23786967444752002</c:v>
                </c:pt>
                <c:pt idx="379">
                  <c:v>-0.245064985281476</c:v>
                </c:pt>
                <c:pt idx="380">
                  <c:v>-0.254192120766813</c:v>
                </c:pt>
                <c:pt idx="381">
                  <c:v>-0.266264677246156</c:v>
                </c:pt>
                <c:pt idx="382">
                  <c:v>-0.280549772111369</c:v>
                </c:pt>
                <c:pt idx="383">
                  <c:v>-0.280549772111369</c:v>
                </c:pt>
                <c:pt idx="384">
                  <c:v>-0.280549772111369</c:v>
                </c:pt>
                <c:pt idx="385">
                  <c:v>-0.283897501083054</c:v>
                </c:pt>
                <c:pt idx="386">
                  <c:v>-0.283911909949042</c:v>
                </c:pt>
                <c:pt idx="387">
                  <c:v>-0.276606822215224</c:v>
                </c:pt>
                <c:pt idx="388">
                  <c:v>-0.294850519773446</c:v>
                </c:pt>
                <c:pt idx="389">
                  <c:v>-0.299203448554341</c:v>
                </c:pt>
                <c:pt idx="390">
                  <c:v>-0.299203448554341</c:v>
                </c:pt>
                <c:pt idx="391">
                  <c:v>-0.299203448554341</c:v>
                </c:pt>
                <c:pt idx="392">
                  <c:v>-0.284368017937133</c:v>
                </c:pt>
                <c:pt idx="393">
                  <c:v>-0.263020090876323</c:v>
                </c:pt>
                <c:pt idx="394">
                  <c:v>-0.267111275868598</c:v>
                </c:pt>
                <c:pt idx="395">
                  <c:v>-0.27087437409216497</c:v>
                </c:pt>
                <c:pt idx="396">
                  <c:v>-0.292404951670024</c:v>
                </c:pt>
                <c:pt idx="397">
                  <c:v>-0.292404951670024</c:v>
                </c:pt>
                <c:pt idx="398">
                  <c:v>-0.292404951670024</c:v>
                </c:pt>
                <c:pt idx="399">
                  <c:v>-0.295954819409159</c:v>
                </c:pt>
                <c:pt idx="400">
                  <c:v>-0.304803314378134</c:v>
                </c:pt>
                <c:pt idx="401">
                  <c:v>-0.30808273081251203</c:v>
                </c:pt>
                <c:pt idx="402">
                  <c:v>-0.298629892759316</c:v>
                </c:pt>
                <c:pt idx="403">
                  <c:v>-0.308833339435642</c:v>
                </c:pt>
                <c:pt idx="404">
                  <c:v>-0.308833339435642</c:v>
                </c:pt>
                <c:pt idx="405">
                  <c:v>-0.308833339435642</c:v>
                </c:pt>
                <c:pt idx="406">
                  <c:v>-0.291659318770401</c:v>
                </c:pt>
                <c:pt idx="407">
                  <c:v>-0.286454608321745</c:v>
                </c:pt>
                <c:pt idx="408">
                  <c:v>-0.294199736603164</c:v>
                </c:pt>
                <c:pt idx="409">
                  <c:v>-0.297068966830979</c:v>
                </c:pt>
                <c:pt idx="410">
                  <c:v>-0.28305650014955697</c:v>
                </c:pt>
                <c:pt idx="411">
                  <c:v>-0.28305650014955697</c:v>
                </c:pt>
                <c:pt idx="412">
                  <c:v>-0.28305650014955697</c:v>
                </c:pt>
                <c:pt idx="413">
                  <c:v>-0.286090862201242</c:v>
                </c:pt>
                <c:pt idx="414">
                  <c:v>-0.27624711887007</c:v>
                </c:pt>
                <c:pt idx="415">
                  <c:v>-0.274222828690195</c:v>
                </c:pt>
                <c:pt idx="416">
                  <c:v>-0.281788934586288</c:v>
                </c:pt>
                <c:pt idx="417">
                  <c:v>-0.281308673607009</c:v>
                </c:pt>
                <c:pt idx="418">
                  <c:v>-0.281308673607009</c:v>
                </c:pt>
                <c:pt idx="419">
                  <c:v>-0.281308673607009</c:v>
                </c:pt>
                <c:pt idx="420">
                  <c:v>-0.287016761417068</c:v>
                </c:pt>
                <c:pt idx="421">
                  <c:v>-0.281562020862213</c:v>
                </c:pt>
                <c:pt idx="422">
                  <c:v>-0.294700315120095</c:v>
                </c:pt>
                <c:pt idx="423">
                  <c:v>-0.304228203669514</c:v>
                </c:pt>
                <c:pt idx="424">
                  <c:v>-0.28171087792378097</c:v>
                </c:pt>
                <c:pt idx="425">
                  <c:v>-0.28171087792378097</c:v>
                </c:pt>
                <c:pt idx="426">
                  <c:v>-0.28171087792378097</c:v>
                </c:pt>
                <c:pt idx="427">
                  <c:v>-0.269845021291768</c:v>
                </c:pt>
                <c:pt idx="428">
                  <c:v>-0.257615522200158</c:v>
                </c:pt>
                <c:pt idx="429">
                  <c:v>-0.271302597296439</c:v>
                </c:pt>
                <c:pt idx="430">
                  <c:v>-0.230223645992604</c:v>
                </c:pt>
                <c:pt idx="431">
                  <c:v>-0.212432013647126</c:v>
                </c:pt>
                <c:pt idx="432">
                  <c:v>-0.212432013647126</c:v>
                </c:pt>
                <c:pt idx="433">
                  <c:v>-0.212432013647126</c:v>
                </c:pt>
                <c:pt idx="434">
                  <c:v>-0.217940450551488</c:v>
                </c:pt>
                <c:pt idx="435">
                  <c:v>-0.20942024967303202</c:v>
                </c:pt>
                <c:pt idx="436">
                  <c:v>-0.222507853747692</c:v>
                </c:pt>
                <c:pt idx="437">
                  <c:v>-0.229764117194602</c:v>
                </c:pt>
                <c:pt idx="438">
                  <c:v>-0.23022416429713602</c:v>
                </c:pt>
                <c:pt idx="439">
                  <c:v>-0.23022416429713602</c:v>
                </c:pt>
                <c:pt idx="440">
                  <c:v>-0.23022416429713602</c:v>
                </c:pt>
                <c:pt idx="441">
                  <c:v>-0.237309905553044</c:v>
                </c:pt>
                <c:pt idx="442">
                  <c:v>-0.227968295652398</c:v>
                </c:pt>
                <c:pt idx="443">
                  <c:v>-0.223739137993726</c:v>
                </c:pt>
                <c:pt idx="444">
                  <c:v>-0.222085642875988</c:v>
                </c:pt>
                <c:pt idx="445">
                  <c:v>-0.227482126001455</c:v>
                </c:pt>
                <c:pt idx="446">
                  <c:v>-0.227482126001455</c:v>
                </c:pt>
                <c:pt idx="447">
                  <c:v>-0.227482126001455</c:v>
                </c:pt>
                <c:pt idx="448">
                  <c:v>-0.239569195007693</c:v>
                </c:pt>
                <c:pt idx="449">
                  <c:v>-0.23470677287191802</c:v>
                </c:pt>
                <c:pt idx="450">
                  <c:v>-0.212414909597572</c:v>
                </c:pt>
                <c:pt idx="451">
                  <c:v>-0.208148330351695</c:v>
                </c:pt>
                <c:pt idx="452">
                  <c:v>-0.206611764736359</c:v>
                </c:pt>
                <c:pt idx="453">
                  <c:v>-0.206611764736359</c:v>
                </c:pt>
                <c:pt idx="454">
                  <c:v>-0.206611764736359</c:v>
                </c:pt>
                <c:pt idx="455">
                  <c:v>-0.21087948425220598</c:v>
                </c:pt>
                <c:pt idx="456">
                  <c:v>-0.222297733090451</c:v>
                </c:pt>
                <c:pt idx="457">
                  <c:v>-0.227040945183883</c:v>
                </c:pt>
                <c:pt idx="458">
                  <c:v>-0.213670035852075</c:v>
                </c:pt>
                <c:pt idx="459">
                  <c:v>-0.212924713935171</c:v>
                </c:pt>
                <c:pt idx="460">
                  <c:v>-0.212924713935171</c:v>
                </c:pt>
                <c:pt idx="461">
                  <c:v>-0.212924713935171</c:v>
                </c:pt>
                <c:pt idx="462">
                  <c:v>-0.213563990744843</c:v>
                </c:pt>
                <c:pt idx="463">
                  <c:v>-0.205396236948095</c:v>
                </c:pt>
                <c:pt idx="464">
                  <c:v>-0.207266590681989</c:v>
                </c:pt>
                <c:pt idx="465">
                  <c:v>-0.228898444965386</c:v>
                </c:pt>
                <c:pt idx="466">
                  <c:v>-0.233008392581716</c:v>
                </c:pt>
                <c:pt idx="467">
                  <c:v>-0.233008392581716</c:v>
                </c:pt>
                <c:pt idx="468">
                  <c:v>-0.233008392581716</c:v>
                </c:pt>
                <c:pt idx="469">
                  <c:v>-0.236611127383107</c:v>
                </c:pt>
                <c:pt idx="470">
                  <c:v>-0.241228080492563</c:v>
                </c:pt>
                <c:pt idx="471">
                  <c:v>-0.23124076680604802</c:v>
                </c:pt>
                <c:pt idx="472">
                  <c:v>-0.23831220285687502</c:v>
                </c:pt>
                <c:pt idx="473">
                  <c:v>-0.23438065566043298</c:v>
                </c:pt>
                <c:pt idx="474">
                  <c:v>-0.23438065566043298</c:v>
                </c:pt>
                <c:pt idx="475">
                  <c:v>-0.23438065566043298</c:v>
                </c:pt>
                <c:pt idx="476">
                  <c:v>-0.234097143081472</c:v>
                </c:pt>
                <c:pt idx="477">
                  <c:v>-0.239974301829843</c:v>
                </c:pt>
                <c:pt idx="478">
                  <c:v>-0.24529345391914797</c:v>
                </c:pt>
                <c:pt idx="479">
                  <c:v>-0.23259706610518202</c:v>
                </c:pt>
                <c:pt idx="480">
                  <c:v>-0.235479668589921</c:v>
                </c:pt>
                <c:pt idx="481">
                  <c:v>-0.235479668589921</c:v>
                </c:pt>
                <c:pt idx="482">
                  <c:v>-0.235479668589921</c:v>
                </c:pt>
                <c:pt idx="483">
                  <c:v>-0.23296402571378302</c:v>
                </c:pt>
                <c:pt idx="484">
                  <c:v>-0.23503558526697</c:v>
                </c:pt>
                <c:pt idx="485">
                  <c:v>-0.224256094933866</c:v>
                </c:pt>
                <c:pt idx="486">
                  <c:v>-0.22777424243564698</c:v>
                </c:pt>
                <c:pt idx="487">
                  <c:v>-0.212070859049282</c:v>
                </c:pt>
                <c:pt idx="488">
                  <c:v>-0.212070859049282</c:v>
                </c:pt>
                <c:pt idx="489">
                  <c:v>-0.212070859049282</c:v>
                </c:pt>
                <c:pt idx="490">
                  <c:v>-0.201338016124051</c:v>
                </c:pt>
                <c:pt idx="491">
                  <c:v>-0.197644992673199</c:v>
                </c:pt>
                <c:pt idx="492">
                  <c:v>-0.187322024971812</c:v>
                </c:pt>
                <c:pt idx="493">
                  <c:v>-0.180113341880932</c:v>
                </c:pt>
                <c:pt idx="494">
                  <c:v>-0.17761853484697798</c:v>
                </c:pt>
                <c:pt idx="495">
                  <c:v>-0.17761853484697798</c:v>
                </c:pt>
                <c:pt idx="496">
                  <c:v>-0.17761853484697798</c:v>
                </c:pt>
                <c:pt idx="497">
                  <c:v>-0.181772952992147</c:v>
                </c:pt>
                <c:pt idx="498">
                  <c:v>-0.18085068190804499</c:v>
                </c:pt>
                <c:pt idx="499">
                  <c:v>-0.18383093296659697</c:v>
                </c:pt>
                <c:pt idx="500">
                  <c:v>-0.187402776817886</c:v>
                </c:pt>
                <c:pt idx="501">
                  <c:v>-0.174090124915465</c:v>
                </c:pt>
                <c:pt idx="502">
                  <c:v>-0.174090124915465</c:v>
                </c:pt>
                <c:pt idx="503">
                  <c:v>-0.174090124915465</c:v>
                </c:pt>
                <c:pt idx="504">
                  <c:v>-0.16005547480007698</c:v>
                </c:pt>
                <c:pt idx="505">
                  <c:v>-0.160649866437285</c:v>
                </c:pt>
                <c:pt idx="506">
                  <c:v>-0.163850915226436</c:v>
                </c:pt>
                <c:pt idx="507">
                  <c:v>-0.15304716824123799</c:v>
                </c:pt>
                <c:pt idx="508">
                  <c:v>-0.14720660179282</c:v>
                </c:pt>
                <c:pt idx="509">
                  <c:v>-0.14720660179282</c:v>
                </c:pt>
                <c:pt idx="510">
                  <c:v>-0.14720660179282</c:v>
                </c:pt>
                <c:pt idx="511">
                  <c:v>-0.159798188430431</c:v>
                </c:pt>
                <c:pt idx="512">
                  <c:v>-0.153938237392519</c:v>
                </c:pt>
                <c:pt idx="513">
                  <c:v>-0.139378959429919</c:v>
                </c:pt>
                <c:pt idx="514">
                  <c:v>-0.123896892078685</c:v>
                </c:pt>
                <c:pt idx="515">
                  <c:v>-0.13546959566744302</c:v>
                </c:pt>
                <c:pt idx="516">
                  <c:v>-0.13546959566744302</c:v>
                </c:pt>
                <c:pt idx="517">
                  <c:v>-0.13546959566744302</c:v>
                </c:pt>
                <c:pt idx="518">
                  <c:v>-0.149726080122494</c:v>
                </c:pt>
                <c:pt idx="519">
                  <c:v>-0.14029915729589398</c:v>
                </c:pt>
                <c:pt idx="520">
                  <c:v>-0.152016675170871</c:v>
                </c:pt>
                <c:pt idx="521">
                  <c:v>-0.150876301539736</c:v>
                </c:pt>
                <c:pt idx="522">
                  <c:v>-0.16083707803421599</c:v>
                </c:pt>
                <c:pt idx="523">
                  <c:v>-0.16083707803421599</c:v>
                </c:pt>
                <c:pt idx="524">
                  <c:v>-0.16083707803421599</c:v>
                </c:pt>
                <c:pt idx="525">
                  <c:v>-0.153344467720749</c:v>
                </c:pt>
                <c:pt idx="526">
                  <c:v>-0.147536450796936</c:v>
                </c:pt>
                <c:pt idx="527">
                  <c:v>-0.148110110252867</c:v>
                </c:pt>
                <c:pt idx="528">
                  <c:v>-0.155230370590601</c:v>
                </c:pt>
                <c:pt idx="529">
                  <c:v>-0.16506457711838501</c:v>
                </c:pt>
                <c:pt idx="530">
                  <c:v>-0.16506457711838501</c:v>
                </c:pt>
                <c:pt idx="531">
                  <c:v>-0.16506457711838501</c:v>
                </c:pt>
                <c:pt idx="532">
                  <c:v>-0.16228895268903598</c:v>
                </c:pt>
                <c:pt idx="533">
                  <c:v>-0.176817339701533</c:v>
                </c:pt>
                <c:pt idx="534">
                  <c:v>-0.18172786049787</c:v>
                </c:pt>
                <c:pt idx="535">
                  <c:v>-0.17071772464805998</c:v>
                </c:pt>
                <c:pt idx="536">
                  <c:v>-0.18763819073628502</c:v>
                </c:pt>
                <c:pt idx="537">
                  <c:v>-0.18763819073628502</c:v>
                </c:pt>
                <c:pt idx="538">
                  <c:v>-0.18763819073628502</c:v>
                </c:pt>
                <c:pt idx="539">
                  <c:v>-0.18147492788629202</c:v>
                </c:pt>
                <c:pt idx="540">
                  <c:v>-0.180440599362388</c:v>
                </c:pt>
                <c:pt idx="541">
                  <c:v>-0.174873075741387</c:v>
                </c:pt>
                <c:pt idx="542">
                  <c:v>-0.177118889278205</c:v>
                </c:pt>
                <c:pt idx="543">
                  <c:v>-0.15983840886210798</c:v>
                </c:pt>
                <c:pt idx="544">
                  <c:v>-0.15983840886210798</c:v>
                </c:pt>
                <c:pt idx="545">
                  <c:v>-0.15983840886210798</c:v>
                </c:pt>
                <c:pt idx="546">
                  <c:v>-0.16150683115036502</c:v>
                </c:pt>
                <c:pt idx="547">
                  <c:v>-0.17662245719753</c:v>
                </c:pt>
                <c:pt idx="548">
                  <c:v>-0.174189121081062</c:v>
                </c:pt>
                <c:pt idx="549">
                  <c:v>-0.19039163173166798</c:v>
                </c:pt>
                <c:pt idx="550">
                  <c:v>-0.203316488183304</c:v>
                </c:pt>
                <c:pt idx="551">
                  <c:v>-0.203316488183304</c:v>
                </c:pt>
                <c:pt idx="552">
                  <c:v>-0.203316488183304</c:v>
                </c:pt>
                <c:pt idx="553">
                  <c:v>-0.20236736892444798</c:v>
                </c:pt>
                <c:pt idx="554">
                  <c:v>-0.18933315021657598</c:v>
                </c:pt>
                <c:pt idx="555">
                  <c:v>-0.204067718771872</c:v>
                </c:pt>
                <c:pt idx="556">
                  <c:v>-0.194122595074256</c:v>
                </c:pt>
                <c:pt idx="557">
                  <c:v>-0.19928117641957102</c:v>
                </c:pt>
                <c:pt idx="558">
                  <c:v>-0.19928117641957102</c:v>
                </c:pt>
                <c:pt idx="559">
                  <c:v>-0.19928117641957102</c:v>
                </c:pt>
                <c:pt idx="560">
                  <c:v>-0.194445913441269</c:v>
                </c:pt>
                <c:pt idx="561">
                  <c:v>-0.17923678525654602</c:v>
                </c:pt>
                <c:pt idx="562">
                  <c:v>-0.184231997013399</c:v>
                </c:pt>
                <c:pt idx="563">
                  <c:v>-0.17619506328050702</c:v>
                </c:pt>
                <c:pt idx="564">
                  <c:v>-0.18064750653153103</c:v>
                </c:pt>
                <c:pt idx="565">
                  <c:v>-0.18064750653153103</c:v>
                </c:pt>
                <c:pt idx="566">
                  <c:v>-0.18064750653153103</c:v>
                </c:pt>
                <c:pt idx="567">
                  <c:v>-0.182458047922442</c:v>
                </c:pt>
                <c:pt idx="568">
                  <c:v>-0.180105463652047</c:v>
                </c:pt>
                <c:pt idx="569">
                  <c:v>-0.16988397997800997</c:v>
                </c:pt>
                <c:pt idx="570">
                  <c:v>-0.160913890765846</c:v>
                </c:pt>
                <c:pt idx="571">
                  <c:v>-0.154232634366651</c:v>
                </c:pt>
                <c:pt idx="572">
                  <c:v>-0.154232634366651</c:v>
                </c:pt>
                <c:pt idx="573">
                  <c:v>-0.154232634366651</c:v>
                </c:pt>
                <c:pt idx="574">
                  <c:v>-0.151992833162402</c:v>
                </c:pt>
                <c:pt idx="575">
                  <c:v>-0.160030803504357</c:v>
                </c:pt>
                <c:pt idx="576">
                  <c:v>-0.17131180530254897</c:v>
                </c:pt>
                <c:pt idx="577">
                  <c:v>-0.170282245180339</c:v>
                </c:pt>
                <c:pt idx="578">
                  <c:v>-0.170456810146691</c:v>
                </c:pt>
                <c:pt idx="579">
                  <c:v>-0.170456810146691</c:v>
                </c:pt>
                <c:pt idx="580">
                  <c:v>-0.170456810146691</c:v>
                </c:pt>
                <c:pt idx="581">
                  <c:v>-0.169415329020246</c:v>
                </c:pt>
                <c:pt idx="582">
                  <c:v>-0.163766949892265</c:v>
                </c:pt>
                <c:pt idx="583">
                  <c:v>-0.169125700447808</c:v>
                </c:pt>
                <c:pt idx="584">
                  <c:v>-0.155969783835841</c:v>
                </c:pt>
                <c:pt idx="585">
                  <c:v>-0.149721104398987</c:v>
                </c:pt>
                <c:pt idx="586">
                  <c:v>-0.149721104398987</c:v>
                </c:pt>
                <c:pt idx="587">
                  <c:v>-0.149721104398987</c:v>
                </c:pt>
                <c:pt idx="588">
                  <c:v>-0.147710393797849</c:v>
                </c:pt>
                <c:pt idx="589">
                  <c:v>-0.145946707136624</c:v>
                </c:pt>
                <c:pt idx="590">
                  <c:v>-0.152673159691003</c:v>
                </c:pt>
                <c:pt idx="591">
                  <c:v>-0.159666435418416</c:v>
                </c:pt>
                <c:pt idx="592">
                  <c:v>-0.170076063637541</c:v>
                </c:pt>
                <c:pt idx="593">
                  <c:v>-0.170076063637541</c:v>
                </c:pt>
                <c:pt idx="594">
                  <c:v>-0.170076063637541</c:v>
                </c:pt>
                <c:pt idx="595">
                  <c:v>-0.168288638628754</c:v>
                </c:pt>
                <c:pt idx="596">
                  <c:v>-0.184825352041543</c:v>
                </c:pt>
                <c:pt idx="597">
                  <c:v>-0.18139148085665202</c:v>
                </c:pt>
                <c:pt idx="598">
                  <c:v>-0.16616618157053298</c:v>
                </c:pt>
                <c:pt idx="599">
                  <c:v>-0.163028365934276</c:v>
                </c:pt>
                <c:pt idx="600">
                  <c:v>-0.163028365934276</c:v>
                </c:pt>
                <c:pt idx="601">
                  <c:v>-0.163028365934276</c:v>
                </c:pt>
                <c:pt idx="602">
                  <c:v>-0.16106305881013402</c:v>
                </c:pt>
                <c:pt idx="603">
                  <c:v>-0.169638925595318</c:v>
                </c:pt>
                <c:pt idx="604">
                  <c:v>-0.17164414216841797</c:v>
                </c:pt>
                <c:pt idx="605">
                  <c:v>-0.17559662886795</c:v>
                </c:pt>
                <c:pt idx="606">
                  <c:v>-0.161185378679667</c:v>
                </c:pt>
                <c:pt idx="607">
                  <c:v>-0.161185378679667</c:v>
                </c:pt>
                <c:pt idx="608">
                  <c:v>-0.161185378679667</c:v>
                </c:pt>
                <c:pt idx="609">
                  <c:v>-0.155718509798765</c:v>
                </c:pt>
                <c:pt idx="610">
                  <c:v>-0.160983343573124</c:v>
                </c:pt>
                <c:pt idx="611">
                  <c:v>-0.158744475317033</c:v>
                </c:pt>
                <c:pt idx="612">
                  <c:v>-0.161424213407977</c:v>
                </c:pt>
                <c:pt idx="613">
                  <c:v>-0.16177365432339902</c:v>
                </c:pt>
                <c:pt idx="614">
                  <c:v>-0.16177365432339902</c:v>
                </c:pt>
                <c:pt idx="615">
                  <c:v>-0.16177365432339902</c:v>
                </c:pt>
                <c:pt idx="616">
                  <c:v>-0.153001142798804</c:v>
                </c:pt>
                <c:pt idx="617">
                  <c:v>-0.155664709788352</c:v>
                </c:pt>
                <c:pt idx="618">
                  <c:v>-0.14983730827504402</c:v>
                </c:pt>
                <c:pt idx="619">
                  <c:v>-0.142056416980923</c:v>
                </c:pt>
                <c:pt idx="620">
                  <c:v>-0.145679469319965</c:v>
                </c:pt>
                <c:pt idx="621">
                  <c:v>-0.145679469319965</c:v>
                </c:pt>
                <c:pt idx="622">
                  <c:v>-0.145679469319965</c:v>
                </c:pt>
                <c:pt idx="623">
                  <c:v>-0.145925249329002</c:v>
                </c:pt>
                <c:pt idx="624">
                  <c:v>-0.154988944339631</c:v>
                </c:pt>
                <c:pt idx="625">
                  <c:v>-0.162555568540257</c:v>
                </c:pt>
                <c:pt idx="626">
                  <c:v>-0.144994789033296</c:v>
                </c:pt>
                <c:pt idx="627">
                  <c:v>-0.134095881336037</c:v>
                </c:pt>
                <c:pt idx="628">
                  <c:v>-0.134095881336037</c:v>
                </c:pt>
                <c:pt idx="629">
                  <c:v>-0.134095881336037</c:v>
                </c:pt>
                <c:pt idx="630">
                  <c:v>-0.135467833432035</c:v>
                </c:pt>
                <c:pt idx="631">
                  <c:v>-0.134442212424267</c:v>
                </c:pt>
                <c:pt idx="632">
                  <c:v>-0.147965503288461</c:v>
                </c:pt>
                <c:pt idx="633">
                  <c:v>-0.133327028393383</c:v>
                </c:pt>
                <c:pt idx="634">
                  <c:v>-0.121528758672333</c:v>
                </c:pt>
                <c:pt idx="635">
                  <c:v>-0.121528758672333</c:v>
                </c:pt>
                <c:pt idx="636">
                  <c:v>-0.121528758672333</c:v>
                </c:pt>
                <c:pt idx="637">
                  <c:v>-0.122616990867557</c:v>
                </c:pt>
                <c:pt idx="638">
                  <c:v>-0.122545257520339</c:v>
                </c:pt>
                <c:pt idx="639">
                  <c:v>-0.125971250476344</c:v>
                </c:pt>
                <c:pt idx="640">
                  <c:v>-0.117093730453582</c:v>
                </c:pt>
                <c:pt idx="641">
                  <c:v>-0.11699794777608201</c:v>
                </c:pt>
                <c:pt idx="642">
                  <c:v>-0.11699794777608201</c:v>
                </c:pt>
                <c:pt idx="643">
                  <c:v>-0.11699794777608201</c:v>
                </c:pt>
                <c:pt idx="644">
                  <c:v>-0.109891059695272</c:v>
                </c:pt>
                <c:pt idx="645">
                  <c:v>-0.0966003839050051</c:v>
                </c:pt>
                <c:pt idx="646">
                  <c:v>-0.09243072760659769</c:v>
                </c:pt>
                <c:pt idx="647">
                  <c:v>-0.08230461196643461</c:v>
                </c:pt>
                <c:pt idx="648">
                  <c:v>-0.0818402111058324</c:v>
                </c:pt>
                <c:pt idx="649">
                  <c:v>-0.0818402111058324</c:v>
                </c:pt>
                <c:pt idx="650">
                  <c:v>-0.0818402111058324</c:v>
                </c:pt>
                <c:pt idx="651">
                  <c:v>-0.085529710085867</c:v>
                </c:pt>
                <c:pt idx="652">
                  <c:v>-0.0879536130598542</c:v>
                </c:pt>
                <c:pt idx="653">
                  <c:v>-0.09390043193731619</c:v>
                </c:pt>
                <c:pt idx="654">
                  <c:v>-0.0940578928541141</c:v>
                </c:pt>
                <c:pt idx="655">
                  <c:v>-0.102371393885239</c:v>
                </c:pt>
                <c:pt idx="656">
                  <c:v>-0.102371393885239</c:v>
                </c:pt>
                <c:pt idx="657">
                  <c:v>-0.102371393885239</c:v>
                </c:pt>
                <c:pt idx="658">
                  <c:v>-0.10928215553117</c:v>
                </c:pt>
                <c:pt idx="659">
                  <c:v>-0.100558675615295</c:v>
                </c:pt>
                <c:pt idx="660">
                  <c:v>-0.10761673940919801</c:v>
                </c:pt>
                <c:pt idx="661">
                  <c:v>-0.107688265434603</c:v>
                </c:pt>
                <c:pt idx="662">
                  <c:v>-0.09366854248973419</c:v>
                </c:pt>
                <c:pt idx="663">
                  <c:v>-0.09366854248973419</c:v>
                </c:pt>
                <c:pt idx="664">
                  <c:v>-0.09366854248973419</c:v>
                </c:pt>
                <c:pt idx="665">
                  <c:v>-0.0858916939709615</c:v>
                </c:pt>
                <c:pt idx="666">
                  <c:v>-0.08542418328316771</c:v>
                </c:pt>
                <c:pt idx="667">
                  <c:v>-0.0902152867153497</c:v>
                </c:pt>
                <c:pt idx="668">
                  <c:v>-0.10083835274071999</c:v>
                </c:pt>
                <c:pt idx="669">
                  <c:v>-0.0957919324961129</c:v>
                </c:pt>
                <c:pt idx="670">
                  <c:v>-0.0957919324961129</c:v>
                </c:pt>
                <c:pt idx="671">
                  <c:v>-0.0957919324961129</c:v>
                </c:pt>
                <c:pt idx="672">
                  <c:v>-0.09139069773284281</c:v>
                </c:pt>
                <c:pt idx="673">
                  <c:v>-0.08128085685498201</c:v>
                </c:pt>
                <c:pt idx="674">
                  <c:v>-0.0643186154214848</c:v>
                </c:pt>
                <c:pt idx="675">
                  <c:v>-0.0484082212050704</c:v>
                </c:pt>
                <c:pt idx="676">
                  <c:v>-0.052810077933778905</c:v>
                </c:pt>
                <c:pt idx="677">
                  <c:v>-0.052810077933778905</c:v>
                </c:pt>
                <c:pt idx="678">
                  <c:v>-0.052810077933778905</c:v>
                </c:pt>
                <c:pt idx="679">
                  <c:v>-0.049836668495047906</c:v>
                </c:pt>
                <c:pt idx="680">
                  <c:v>-0.046822105676482303</c:v>
                </c:pt>
                <c:pt idx="681">
                  <c:v>-0.0474812853801809</c:v>
                </c:pt>
                <c:pt idx="682">
                  <c:v>-0.06438433643613249</c:v>
                </c:pt>
                <c:pt idx="683">
                  <c:v>-0.07047358539896681</c:v>
                </c:pt>
                <c:pt idx="684">
                  <c:v>-0.07047358539896681</c:v>
                </c:pt>
                <c:pt idx="685">
                  <c:v>-0.07047358539896681</c:v>
                </c:pt>
                <c:pt idx="686">
                  <c:v>-0.0721167144260664</c:v>
                </c:pt>
                <c:pt idx="687">
                  <c:v>-0.062198438903204</c:v>
                </c:pt>
                <c:pt idx="688">
                  <c:v>-0.064614463648306</c:v>
                </c:pt>
                <c:pt idx="689">
                  <c:v>-0.0640305417626425</c:v>
                </c:pt>
                <c:pt idx="690">
                  <c:v>-0.0544207610971802</c:v>
                </c:pt>
                <c:pt idx="691">
                  <c:v>-0.0544207610971802</c:v>
                </c:pt>
                <c:pt idx="692">
                  <c:v>-0.0544207610971802</c:v>
                </c:pt>
                <c:pt idx="693">
                  <c:v>-0.051476169390424105</c:v>
                </c:pt>
                <c:pt idx="694">
                  <c:v>-0.056346988059615695</c:v>
                </c:pt>
                <c:pt idx="695">
                  <c:v>-0.0767800039606764</c:v>
                </c:pt>
                <c:pt idx="696">
                  <c:v>-0.0791607839976076</c:v>
                </c:pt>
                <c:pt idx="697">
                  <c:v>-0.0802195764954182</c:v>
                </c:pt>
                <c:pt idx="698">
                  <c:v>-0.0802195764954182</c:v>
                </c:pt>
                <c:pt idx="699">
                  <c:v>-0.0802195764954182</c:v>
                </c:pt>
                <c:pt idx="700">
                  <c:v>-0.0770034968748412</c:v>
                </c:pt>
                <c:pt idx="701">
                  <c:v>-0.0885033268464108</c:v>
                </c:pt>
                <c:pt idx="702">
                  <c:v>-0.0948672772111638</c:v>
                </c:pt>
                <c:pt idx="703">
                  <c:v>-0.09688037201314939</c:v>
                </c:pt>
                <c:pt idx="704">
                  <c:v>-0.1046065303487</c:v>
                </c:pt>
                <c:pt idx="705">
                  <c:v>-0.1046065303487</c:v>
                </c:pt>
                <c:pt idx="706">
                  <c:v>-0.1046065303487</c:v>
                </c:pt>
                <c:pt idx="707">
                  <c:v>-0.099622306647924</c:v>
                </c:pt>
                <c:pt idx="708">
                  <c:v>-0.11357496098636201</c:v>
                </c:pt>
                <c:pt idx="709">
                  <c:v>-0.12238955883894899</c:v>
                </c:pt>
                <c:pt idx="710">
                  <c:v>-0.127299146687129</c:v>
                </c:pt>
                <c:pt idx="711">
                  <c:v>-0.130611319967924</c:v>
                </c:pt>
                <c:pt idx="712">
                  <c:v>-0.130611319967924</c:v>
                </c:pt>
                <c:pt idx="713">
                  <c:v>-0.130611319967924</c:v>
                </c:pt>
                <c:pt idx="714">
                  <c:v>-0.118783403227648</c:v>
                </c:pt>
                <c:pt idx="715">
                  <c:v>-0.12141359140534</c:v>
                </c:pt>
                <c:pt idx="716">
                  <c:v>-0.109000819831243</c:v>
                </c:pt>
                <c:pt idx="717">
                  <c:v>-0.11618400233915199</c:v>
                </c:pt>
                <c:pt idx="718">
                  <c:v>-0.11514407612630301</c:v>
                </c:pt>
                <c:pt idx="719">
                  <c:v>-0.11514407612630301</c:v>
                </c:pt>
                <c:pt idx="720">
                  <c:v>-0.11514407612630301</c:v>
                </c:pt>
                <c:pt idx="721">
                  <c:v>-0.106911534263064</c:v>
                </c:pt>
                <c:pt idx="722">
                  <c:v>-0.09012914450214421</c:v>
                </c:pt>
                <c:pt idx="723">
                  <c:v>-0.08871002669374141</c:v>
                </c:pt>
                <c:pt idx="724">
                  <c:v>-0.091900398409535</c:v>
                </c:pt>
                <c:pt idx="725">
                  <c:v>-0.0921761364205176</c:v>
                </c:pt>
                <c:pt idx="726">
                  <c:v>-0.0921761364205176</c:v>
                </c:pt>
                <c:pt idx="727">
                  <c:v>-0.0921761364205176</c:v>
                </c:pt>
                <c:pt idx="728">
                  <c:v>-0.0904663534306128</c:v>
                </c:pt>
                <c:pt idx="729">
                  <c:v>-0.096566383127711</c:v>
                </c:pt>
                <c:pt idx="730">
                  <c:v>-0.10456983438784001</c:v>
                </c:pt>
                <c:pt idx="731">
                  <c:v>-0.115184814862512</c:v>
                </c:pt>
                <c:pt idx="732">
                  <c:v>-0.11935457482182599</c:v>
                </c:pt>
                <c:pt idx="733">
                  <c:v>-0.11935457482182599</c:v>
                </c:pt>
                <c:pt idx="734">
                  <c:v>-0.11935457482182599</c:v>
                </c:pt>
                <c:pt idx="735">
                  <c:v>-0.109688402623291</c:v>
                </c:pt>
                <c:pt idx="736">
                  <c:v>-0.117376310084385</c:v>
                </c:pt>
                <c:pt idx="737">
                  <c:v>-0.114868545437133</c:v>
                </c:pt>
                <c:pt idx="738">
                  <c:v>-0.107042665309641</c:v>
                </c:pt>
                <c:pt idx="739">
                  <c:v>-0.11810660116986399</c:v>
                </c:pt>
                <c:pt idx="740">
                  <c:v>-0.11810660116986399</c:v>
                </c:pt>
                <c:pt idx="741">
                  <c:v>-0.11810660116986399</c:v>
                </c:pt>
                <c:pt idx="742">
                  <c:v>-0.11664052497086899</c:v>
                </c:pt>
                <c:pt idx="743">
                  <c:v>-0.12032328599198801</c:v>
                </c:pt>
                <c:pt idx="744">
                  <c:v>-0.127211967864859</c:v>
                </c:pt>
                <c:pt idx="745">
                  <c:v>-0.14037897619381</c:v>
                </c:pt>
                <c:pt idx="746">
                  <c:v>-0.139616550227352</c:v>
                </c:pt>
                <c:pt idx="747">
                  <c:v>-0.139616550227352</c:v>
                </c:pt>
                <c:pt idx="748">
                  <c:v>-0.139616550227352</c:v>
                </c:pt>
                <c:pt idx="749">
                  <c:v>-0.14279945835788602</c:v>
                </c:pt>
                <c:pt idx="750">
                  <c:v>-0.153619272783574</c:v>
                </c:pt>
                <c:pt idx="751">
                  <c:v>-0.154182877131586</c:v>
                </c:pt>
                <c:pt idx="752">
                  <c:v>-0.144920153180699</c:v>
                </c:pt>
                <c:pt idx="753">
                  <c:v>-0.139671179525017</c:v>
                </c:pt>
                <c:pt idx="754">
                  <c:v>-0.139671179525017</c:v>
                </c:pt>
                <c:pt idx="755">
                  <c:v>-0.139671179525017</c:v>
                </c:pt>
                <c:pt idx="756">
                  <c:v>-0.14537771242148</c:v>
                </c:pt>
                <c:pt idx="757">
                  <c:v>-0.160285083707718</c:v>
                </c:pt>
                <c:pt idx="758">
                  <c:v>-0.156897237965262</c:v>
                </c:pt>
                <c:pt idx="759">
                  <c:v>-0.157013960145851</c:v>
                </c:pt>
                <c:pt idx="760">
                  <c:v>-0.142131882120771</c:v>
                </c:pt>
                <c:pt idx="761">
                  <c:v>-0.142131882120771</c:v>
                </c:pt>
                <c:pt idx="762">
                  <c:v>-0.142131882120771</c:v>
                </c:pt>
                <c:pt idx="763">
                  <c:v>-0.142076319874948</c:v>
                </c:pt>
                <c:pt idx="764">
                  <c:v>-0.130846111920885</c:v>
                </c:pt>
                <c:pt idx="765">
                  <c:v>-0.124878249879427</c:v>
                </c:pt>
                <c:pt idx="766">
                  <c:v>-0.127106959366692</c:v>
                </c:pt>
                <c:pt idx="767">
                  <c:v>-0.138922955102734</c:v>
                </c:pt>
                <c:pt idx="768">
                  <c:v>-0.138922955102734</c:v>
                </c:pt>
                <c:pt idx="769">
                  <c:v>-0.138922955102734</c:v>
                </c:pt>
                <c:pt idx="770">
                  <c:v>-0.133144896180866</c:v>
                </c:pt>
                <c:pt idx="771">
                  <c:v>-0.133632724406311</c:v>
                </c:pt>
                <c:pt idx="772">
                  <c:v>-0.152125726444387</c:v>
                </c:pt>
                <c:pt idx="773">
                  <c:v>-0.159692765288638</c:v>
                </c:pt>
                <c:pt idx="774">
                  <c:v>-0.170655942747855</c:v>
                </c:pt>
                <c:pt idx="775">
                  <c:v>-0.170655942747855</c:v>
                </c:pt>
                <c:pt idx="776">
                  <c:v>-0.170655942747855</c:v>
                </c:pt>
                <c:pt idx="777">
                  <c:v>-0.16878973545021603</c:v>
                </c:pt>
                <c:pt idx="778">
                  <c:v>-0.163902331036003</c:v>
                </c:pt>
                <c:pt idx="779">
                  <c:v>-0.179829103675626</c:v>
                </c:pt>
                <c:pt idx="780">
                  <c:v>-0.187334775263297</c:v>
                </c:pt>
                <c:pt idx="781">
                  <c:v>-0.189610650462968</c:v>
                </c:pt>
                <c:pt idx="782">
                  <c:v>-0.189610650462968</c:v>
                </c:pt>
                <c:pt idx="783">
                  <c:v>-0.189610650462968</c:v>
                </c:pt>
                <c:pt idx="784">
                  <c:v>-0.191049878487209</c:v>
                </c:pt>
                <c:pt idx="785">
                  <c:v>-0.193077796798808</c:v>
                </c:pt>
                <c:pt idx="786">
                  <c:v>-0.1860407761689</c:v>
                </c:pt>
                <c:pt idx="787">
                  <c:v>-0.171565670862285</c:v>
                </c:pt>
                <c:pt idx="788">
                  <c:v>-0.16159525390351098</c:v>
                </c:pt>
                <c:pt idx="789">
                  <c:v>-0.16159525390351098</c:v>
                </c:pt>
                <c:pt idx="790">
                  <c:v>-0.16159525390351098</c:v>
                </c:pt>
                <c:pt idx="791">
                  <c:v>-0.15834030144304</c:v>
                </c:pt>
                <c:pt idx="792">
                  <c:v>-0.15714840834143198</c:v>
                </c:pt>
                <c:pt idx="793">
                  <c:v>-0.154278763469992</c:v>
                </c:pt>
                <c:pt idx="794">
                  <c:v>-0.152010559177394</c:v>
                </c:pt>
                <c:pt idx="795">
                  <c:v>-0.144533290678072</c:v>
                </c:pt>
                <c:pt idx="796">
                  <c:v>-0.144533290678072</c:v>
                </c:pt>
                <c:pt idx="797">
                  <c:v>-0.144533290678072</c:v>
                </c:pt>
                <c:pt idx="798">
                  <c:v>-0.144499704544404</c:v>
                </c:pt>
                <c:pt idx="799">
                  <c:v>-0.126260671726969</c:v>
                </c:pt>
                <c:pt idx="800">
                  <c:v>-0.124491491037706</c:v>
                </c:pt>
                <c:pt idx="801">
                  <c:v>-0.126241909102914</c:v>
                </c:pt>
                <c:pt idx="802">
                  <c:v>-0.12146044613502599</c:v>
                </c:pt>
                <c:pt idx="803">
                  <c:v>-0.12146044613502599</c:v>
                </c:pt>
                <c:pt idx="804">
                  <c:v>-0.12146044613502599</c:v>
                </c:pt>
                <c:pt idx="805">
                  <c:v>-0.11268648335774101</c:v>
                </c:pt>
                <c:pt idx="806">
                  <c:v>-0.12004796262463101</c:v>
                </c:pt>
                <c:pt idx="807">
                  <c:v>-0.122003007319042</c:v>
                </c:pt>
                <c:pt idx="808">
                  <c:v>-0.12026513222350699</c:v>
                </c:pt>
                <c:pt idx="809">
                  <c:v>-0.12276076854471199</c:v>
                </c:pt>
                <c:pt idx="810">
                  <c:v>-0.12276076854471199</c:v>
                </c:pt>
                <c:pt idx="811">
                  <c:v>-0.12276076854471199</c:v>
                </c:pt>
                <c:pt idx="812">
                  <c:v>-0.124172630089668</c:v>
                </c:pt>
                <c:pt idx="813">
                  <c:v>-0.121827820387252</c:v>
                </c:pt>
                <c:pt idx="814">
                  <c:v>-0.121205543966226</c:v>
                </c:pt>
                <c:pt idx="815">
                  <c:v>-0.123086782095291</c:v>
                </c:pt>
                <c:pt idx="816">
                  <c:v>-0.12178832558191999</c:v>
                </c:pt>
                <c:pt idx="817">
                  <c:v>-0.12178832558191999</c:v>
                </c:pt>
                <c:pt idx="818">
                  <c:v>-0.12178832558191999</c:v>
                </c:pt>
                <c:pt idx="819">
                  <c:v>-0.132613426713833</c:v>
                </c:pt>
                <c:pt idx="820">
                  <c:v>-0.133700829621806</c:v>
                </c:pt>
                <c:pt idx="821">
                  <c:v>-0.13603019384917</c:v>
                </c:pt>
                <c:pt idx="822">
                  <c:v>-0.128976483813335</c:v>
                </c:pt>
                <c:pt idx="823">
                  <c:v>-0.12336189814083501</c:v>
                </c:pt>
                <c:pt idx="824">
                  <c:v>-0.12336189814083501</c:v>
                </c:pt>
                <c:pt idx="825">
                  <c:v>-0.12336189814083501</c:v>
                </c:pt>
                <c:pt idx="826">
                  <c:v>-0.127569597991886</c:v>
                </c:pt>
                <c:pt idx="827">
                  <c:v>-0.12087382906579601</c:v>
                </c:pt>
                <c:pt idx="828">
                  <c:v>-0.110718688371845</c:v>
                </c:pt>
                <c:pt idx="829">
                  <c:v>-0.1041242998122</c:v>
                </c:pt>
                <c:pt idx="830">
                  <c:v>-0.10170537256171899</c:v>
                </c:pt>
                <c:pt idx="831">
                  <c:v>-0.10170537256171899</c:v>
                </c:pt>
                <c:pt idx="832">
                  <c:v>-0.10170537256171899</c:v>
                </c:pt>
                <c:pt idx="833">
                  <c:v>-0.0965216016161529</c:v>
                </c:pt>
                <c:pt idx="834">
                  <c:v>-0.0901016743619524</c:v>
                </c:pt>
                <c:pt idx="835">
                  <c:v>-0.09854143437705361</c:v>
                </c:pt>
                <c:pt idx="836">
                  <c:v>-0.08970506773412551</c:v>
                </c:pt>
                <c:pt idx="837">
                  <c:v>-0.0914340279917114</c:v>
                </c:pt>
                <c:pt idx="838">
                  <c:v>-0.0914340279917114</c:v>
                </c:pt>
                <c:pt idx="839">
                  <c:v>-0.0914340279917114</c:v>
                </c:pt>
                <c:pt idx="840">
                  <c:v>-0.0913718314478808</c:v>
                </c:pt>
                <c:pt idx="841">
                  <c:v>-0.0886558120397023</c:v>
                </c:pt>
                <c:pt idx="842">
                  <c:v>-0.0825740266621278</c:v>
                </c:pt>
                <c:pt idx="843">
                  <c:v>-0.0796235262837077</c:v>
                </c:pt>
                <c:pt idx="844">
                  <c:v>-0.0841240681952942</c:v>
                </c:pt>
                <c:pt idx="845">
                  <c:v>-0.0841240681952942</c:v>
                </c:pt>
                <c:pt idx="846">
                  <c:v>-0.0841240681952942</c:v>
                </c:pt>
                <c:pt idx="847">
                  <c:v>-0.0841240681952942</c:v>
                </c:pt>
                <c:pt idx="848">
                  <c:v>-0.095851019212752</c:v>
                </c:pt>
                <c:pt idx="849">
                  <c:v>-0.10564459066523399</c:v>
                </c:pt>
                <c:pt idx="850">
                  <c:v>-0.104822870660325</c:v>
                </c:pt>
                <c:pt idx="851">
                  <c:v>-0.103072556256023</c:v>
                </c:pt>
                <c:pt idx="852">
                  <c:v>-0.103072556256023</c:v>
                </c:pt>
                <c:pt idx="853">
                  <c:v>-0.103072556256023</c:v>
                </c:pt>
                <c:pt idx="854">
                  <c:v>-0.0901825298689322</c:v>
                </c:pt>
                <c:pt idx="855">
                  <c:v>-0.0920471822529753</c:v>
                </c:pt>
                <c:pt idx="856">
                  <c:v>-0.0881621788034996</c:v>
                </c:pt>
                <c:pt idx="857">
                  <c:v>-0.08987393135062581</c:v>
                </c:pt>
                <c:pt idx="858">
                  <c:v>-0.0911423262011456</c:v>
                </c:pt>
                <c:pt idx="859">
                  <c:v>-0.0911423262011456</c:v>
                </c:pt>
                <c:pt idx="860">
                  <c:v>-0.0911423262011456</c:v>
                </c:pt>
                <c:pt idx="861">
                  <c:v>-0.0919881991972426</c:v>
                </c:pt>
                <c:pt idx="862">
                  <c:v>-0.0915536526776791</c:v>
                </c:pt>
                <c:pt idx="863">
                  <c:v>-0.0989293334887441</c:v>
                </c:pt>
                <c:pt idx="864">
                  <c:v>-0.08872298430703941</c:v>
                </c:pt>
                <c:pt idx="865">
                  <c:v>-0.0798445313361193</c:v>
                </c:pt>
                <c:pt idx="866">
                  <c:v>-0.0798445313361193</c:v>
                </c:pt>
                <c:pt idx="867">
                  <c:v>-0.0798445313361193</c:v>
                </c:pt>
                <c:pt idx="868">
                  <c:v>-0.07789560263518559</c:v>
                </c:pt>
                <c:pt idx="869">
                  <c:v>-0.0699248045605676</c:v>
                </c:pt>
                <c:pt idx="870">
                  <c:v>-0.06310350227684651</c:v>
                </c:pt>
                <c:pt idx="871">
                  <c:v>-0.0608780062776792</c:v>
                </c:pt>
                <c:pt idx="872">
                  <c:v>-0.061705323971533305</c:v>
                </c:pt>
                <c:pt idx="873">
                  <c:v>-0.061705323971533305</c:v>
                </c:pt>
                <c:pt idx="874">
                  <c:v>-0.061705323971533305</c:v>
                </c:pt>
                <c:pt idx="875">
                  <c:v>-0.054504830092258</c:v>
                </c:pt>
                <c:pt idx="876">
                  <c:v>-0.054527946474381694</c:v>
                </c:pt>
                <c:pt idx="877">
                  <c:v>-0.0668365388375626</c:v>
                </c:pt>
                <c:pt idx="878">
                  <c:v>-0.0572649053856498</c:v>
                </c:pt>
                <c:pt idx="879">
                  <c:v>-0.0314031678172365</c:v>
                </c:pt>
                <c:pt idx="880">
                  <c:v>-0.0314031678172365</c:v>
                </c:pt>
                <c:pt idx="881">
                  <c:v>-0.0314031678172365</c:v>
                </c:pt>
                <c:pt idx="882">
                  <c:v>-0.0351547596801954</c:v>
                </c:pt>
                <c:pt idx="883">
                  <c:v>-0.032566761491401704</c:v>
                </c:pt>
                <c:pt idx="884">
                  <c:v>-0.0180444904723813</c:v>
                </c:pt>
                <c:pt idx="885">
                  <c:v>-0.016034194514868</c:v>
                </c:pt>
                <c:pt idx="886">
                  <c:v>-0.00978271623354216</c:v>
                </c:pt>
                <c:pt idx="887">
                  <c:v>-0.00978271623354216</c:v>
                </c:pt>
                <c:pt idx="888">
                  <c:v>-0.00978271623354216</c:v>
                </c:pt>
                <c:pt idx="889">
                  <c:v>-0.00909565174602616</c:v>
                </c:pt>
                <c:pt idx="890">
                  <c:v>-0.0251268109183784</c:v>
                </c:pt>
                <c:pt idx="891">
                  <c:v>-0.0145066473983871</c:v>
                </c:pt>
                <c:pt idx="892">
                  <c:v>-0.00922284367815986</c:v>
                </c:pt>
                <c:pt idx="893">
                  <c:v>-0.00970579984100492</c:v>
                </c:pt>
                <c:pt idx="894">
                  <c:v>-0.00970579984100492</c:v>
                </c:pt>
                <c:pt idx="895">
                  <c:v>-0.00970579984100492</c:v>
                </c:pt>
                <c:pt idx="896">
                  <c:v>-0.012302505545934901</c:v>
                </c:pt>
                <c:pt idx="897">
                  <c:v>-0.022882966938781002</c:v>
                </c:pt>
                <c:pt idx="898">
                  <c:v>-0.0221769325053966</c:v>
                </c:pt>
                <c:pt idx="899">
                  <c:v>0.012600161316609699</c:v>
                </c:pt>
                <c:pt idx="900">
                  <c:v>0.0113464863147964</c:v>
                </c:pt>
                <c:pt idx="901">
                  <c:v>0.0113464863147964</c:v>
                </c:pt>
                <c:pt idx="902">
                  <c:v>0.0113464863147964</c:v>
                </c:pt>
                <c:pt idx="903">
                  <c:v>0.0153502851629886</c:v>
                </c:pt>
                <c:pt idx="904">
                  <c:v>0.0181873805098241</c:v>
                </c:pt>
                <c:pt idx="905">
                  <c:v>0.014529705428049499</c:v>
                </c:pt>
                <c:pt idx="906">
                  <c:v>0.0217854505704277</c:v>
                </c:pt>
                <c:pt idx="907">
                  <c:v>0.0365829412958988</c:v>
                </c:pt>
                <c:pt idx="908">
                  <c:v>0.0365829412958988</c:v>
                </c:pt>
                <c:pt idx="909">
                  <c:v>0.0365829412958988</c:v>
                </c:pt>
                <c:pt idx="910">
                  <c:v>0.0418476714093513</c:v>
                </c:pt>
                <c:pt idx="911">
                  <c:v>0.0225870603594985</c:v>
                </c:pt>
                <c:pt idx="912">
                  <c:v>0.0399942144031976</c:v>
                </c:pt>
                <c:pt idx="913">
                  <c:v>0.056544507394723095</c:v>
                </c:pt>
                <c:pt idx="914">
                  <c:v>0.0455037915775301</c:v>
                </c:pt>
                <c:pt idx="915">
                  <c:v>0.0455037915775301</c:v>
                </c:pt>
                <c:pt idx="916">
                  <c:v>0.0455037915775301</c:v>
                </c:pt>
                <c:pt idx="917">
                  <c:v>0.0369256442524057</c:v>
                </c:pt>
                <c:pt idx="918">
                  <c:v>0.0609685475573978</c:v>
                </c:pt>
                <c:pt idx="919">
                  <c:v>0.0561964140710842</c:v>
                </c:pt>
                <c:pt idx="920">
                  <c:v>0.0435434601768942</c:v>
                </c:pt>
                <c:pt idx="921">
                  <c:v>0.039048515954252495</c:v>
                </c:pt>
                <c:pt idx="922">
                  <c:v>0.039048515954252495</c:v>
                </c:pt>
                <c:pt idx="923">
                  <c:v>0.039048515954252495</c:v>
                </c:pt>
                <c:pt idx="924">
                  <c:v>0.0473811942530586</c:v>
                </c:pt>
                <c:pt idx="925">
                  <c:v>0.0511490608783199</c:v>
                </c:pt>
                <c:pt idx="926">
                  <c:v>0.0667484723755809</c:v>
                </c:pt>
                <c:pt idx="927">
                  <c:v>0.075111626980864</c:v>
                </c:pt>
                <c:pt idx="928">
                  <c:v>0.0764762191525087</c:v>
                </c:pt>
                <c:pt idx="929">
                  <c:v>0.0764762191525087</c:v>
                </c:pt>
                <c:pt idx="930">
                  <c:v>0.0764762191525087</c:v>
                </c:pt>
                <c:pt idx="931">
                  <c:v>0.07541867058557469</c:v>
                </c:pt>
                <c:pt idx="932">
                  <c:v>0.0682742572566534</c:v>
                </c:pt>
                <c:pt idx="933">
                  <c:v>0.0648924238467677</c:v>
                </c:pt>
                <c:pt idx="934">
                  <c:v>0.0653735141132978</c:v>
                </c:pt>
                <c:pt idx="935">
                  <c:v>0.06540222818436629</c:v>
                </c:pt>
                <c:pt idx="936">
                  <c:v>0.06540222818436629</c:v>
                </c:pt>
                <c:pt idx="937">
                  <c:v>0.06540222818436629</c:v>
                </c:pt>
                <c:pt idx="938">
                  <c:v>0.0648712770218653</c:v>
                </c:pt>
                <c:pt idx="939">
                  <c:v>0.062099384385145596</c:v>
                </c:pt>
                <c:pt idx="940">
                  <c:v>0.0674855014199742</c:v>
                </c:pt>
                <c:pt idx="941">
                  <c:v>0.059304375366302196</c:v>
                </c:pt>
                <c:pt idx="942">
                  <c:v>0.0669456354195241</c:v>
                </c:pt>
                <c:pt idx="943">
                  <c:v>0.0669456354195241</c:v>
                </c:pt>
                <c:pt idx="944">
                  <c:v>0.0669456354195241</c:v>
                </c:pt>
                <c:pt idx="945">
                  <c:v>0.070445642262688</c:v>
                </c:pt>
                <c:pt idx="946">
                  <c:v>0.06751069102022561</c:v>
                </c:pt>
                <c:pt idx="947">
                  <c:v>0.0681116132945362</c:v>
                </c:pt>
                <c:pt idx="948">
                  <c:v>0.0805873070388088</c:v>
                </c:pt>
                <c:pt idx="949">
                  <c:v>0.058009546984654305</c:v>
                </c:pt>
                <c:pt idx="950">
                  <c:v>0.058009546984654305</c:v>
                </c:pt>
                <c:pt idx="951">
                  <c:v>0.058009546984654305</c:v>
                </c:pt>
                <c:pt idx="952">
                  <c:v>0.040839258112043496</c:v>
                </c:pt>
                <c:pt idx="953">
                  <c:v>0.0358703762254122</c:v>
                </c:pt>
                <c:pt idx="954">
                  <c:v>0.024493177106095398</c:v>
                </c:pt>
                <c:pt idx="955">
                  <c:v>0.0237040066257907</c:v>
                </c:pt>
                <c:pt idx="956">
                  <c:v>0.0010894469498697</c:v>
                </c:pt>
                <c:pt idx="957">
                  <c:v>0.0010894469498697</c:v>
                </c:pt>
                <c:pt idx="958">
                  <c:v>0.0010894469498697</c:v>
                </c:pt>
                <c:pt idx="959">
                  <c:v>0.0161329250061911</c:v>
                </c:pt>
                <c:pt idx="960">
                  <c:v>0.0327482133860195</c:v>
                </c:pt>
                <c:pt idx="961">
                  <c:v>0.0269726423259046</c:v>
                </c:pt>
                <c:pt idx="962">
                  <c:v>0.020392040666808203</c:v>
                </c:pt>
                <c:pt idx="963">
                  <c:v>0.041220833908444596</c:v>
                </c:pt>
                <c:pt idx="964">
                  <c:v>0.041220833908444596</c:v>
                </c:pt>
                <c:pt idx="965">
                  <c:v>0.041220833908444596</c:v>
                </c:pt>
                <c:pt idx="966">
                  <c:v>0.0416161966053948</c:v>
                </c:pt>
                <c:pt idx="967">
                  <c:v>0.0284014005986012</c:v>
                </c:pt>
                <c:pt idx="968">
                  <c:v>0.0209342908681051</c:v>
                </c:pt>
                <c:pt idx="969">
                  <c:v>0.0339783573620836</c:v>
                </c:pt>
                <c:pt idx="970">
                  <c:v>0.05164849912528</c:v>
                </c:pt>
                <c:pt idx="971">
                  <c:v>0.05164849912528</c:v>
                </c:pt>
                <c:pt idx="972">
                  <c:v>0.05164849912528</c:v>
                </c:pt>
                <c:pt idx="973">
                  <c:v>0.0667447405829511</c:v>
                </c:pt>
                <c:pt idx="974">
                  <c:v>0.0641994506875878</c:v>
                </c:pt>
                <c:pt idx="975">
                  <c:v>0.06597174120404241</c:v>
                </c:pt>
                <c:pt idx="976">
                  <c:v>0.0681103693636596</c:v>
                </c:pt>
                <c:pt idx="977">
                  <c:v>0.0720611974886894</c:v>
                </c:pt>
                <c:pt idx="978">
                  <c:v>0.0720611974886894</c:v>
                </c:pt>
                <c:pt idx="979">
                  <c:v>0.0720611974886894</c:v>
                </c:pt>
                <c:pt idx="980">
                  <c:v>0.0754986968053035</c:v>
                </c:pt>
                <c:pt idx="981">
                  <c:v>0.0864515081738824</c:v>
                </c:pt>
                <c:pt idx="982">
                  <c:v>0.100920186504302</c:v>
                </c:pt>
                <c:pt idx="983">
                  <c:v>0.0958031731824475</c:v>
                </c:pt>
                <c:pt idx="984">
                  <c:v>0.09318666824439809</c:v>
                </c:pt>
                <c:pt idx="985">
                  <c:v>0.09318666824439809</c:v>
                </c:pt>
                <c:pt idx="986">
                  <c:v>0.09318666824439809</c:v>
                </c:pt>
                <c:pt idx="987">
                  <c:v>0.0980028576159251</c:v>
                </c:pt>
                <c:pt idx="988">
                  <c:v>0.0968181171168574</c:v>
                </c:pt>
                <c:pt idx="989">
                  <c:v>0.0964818411365464</c:v>
                </c:pt>
                <c:pt idx="990">
                  <c:v>0.103858869539394</c:v>
                </c:pt>
                <c:pt idx="991">
                  <c:v>0.11863707933627801</c:v>
                </c:pt>
                <c:pt idx="992">
                  <c:v>0.11863707933627801</c:v>
                </c:pt>
                <c:pt idx="993">
                  <c:v>0.11863707933627801</c:v>
                </c:pt>
                <c:pt idx="994">
                  <c:v>0.123365778902817</c:v>
                </c:pt>
                <c:pt idx="995">
                  <c:v>0.136675113656233</c:v>
                </c:pt>
                <c:pt idx="996">
                  <c:v>0.124001531241672</c:v>
                </c:pt>
                <c:pt idx="997">
                  <c:v>0.111643285304333</c:v>
                </c:pt>
                <c:pt idx="998">
                  <c:v>0.10866096102765299</c:v>
                </c:pt>
                <c:pt idx="999">
                  <c:v>0.10866096102765299</c:v>
                </c:pt>
                <c:pt idx="1000">
                  <c:v>0.10866096102765299</c:v>
                </c:pt>
                <c:pt idx="1001">
                  <c:v>0.12538778854275098</c:v>
                </c:pt>
                <c:pt idx="1002">
                  <c:v>0.124880575727812</c:v>
                </c:pt>
                <c:pt idx="1003">
                  <c:v>0.147323680264573</c:v>
                </c:pt>
                <c:pt idx="1004">
                  <c:v>0.146190666557792</c:v>
                </c:pt>
                <c:pt idx="1005">
                  <c:v>0.142040083866159</c:v>
                </c:pt>
                <c:pt idx="1006">
                  <c:v>0.142040083866159</c:v>
                </c:pt>
                <c:pt idx="1007">
                  <c:v>0.142040083866159</c:v>
                </c:pt>
                <c:pt idx="1008">
                  <c:v>0.145679929272036</c:v>
                </c:pt>
                <c:pt idx="1009">
                  <c:v>0.142672726377823</c:v>
                </c:pt>
                <c:pt idx="1010">
                  <c:v>0.158339310142421</c:v>
                </c:pt>
                <c:pt idx="1011">
                  <c:v>0.159798130077969</c:v>
                </c:pt>
                <c:pt idx="1012">
                  <c:v>0.15942837162489598</c:v>
                </c:pt>
                <c:pt idx="1013">
                  <c:v>0.15942837162489598</c:v>
                </c:pt>
                <c:pt idx="1014">
                  <c:v>0.15942837162489598</c:v>
                </c:pt>
                <c:pt idx="1015">
                  <c:v>0.16662119459709898</c:v>
                </c:pt>
                <c:pt idx="1016">
                  <c:v>0.17561699171404602</c:v>
                </c:pt>
                <c:pt idx="1017">
                  <c:v>0.17887225515723698</c:v>
                </c:pt>
                <c:pt idx="1018">
                  <c:v>0.166527899781353</c:v>
                </c:pt>
                <c:pt idx="1019">
                  <c:v>0.151039094471204</c:v>
                </c:pt>
                <c:pt idx="1020">
                  <c:v>0.151039094471204</c:v>
                </c:pt>
                <c:pt idx="1021">
                  <c:v>0.151039094471204</c:v>
                </c:pt>
                <c:pt idx="1022">
                  <c:v>0.134296821481055</c:v>
                </c:pt>
                <c:pt idx="1023">
                  <c:v>0.15024494826739299</c:v>
                </c:pt>
                <c:pt idx="1024">
                  <c:v>0.153877019105291</c:v>
                </c:pt>
                <c:pt idx="1025">
                  <c:v>0.147440402445162</c:v>
                </c:pt>
                <c:pt idx="1026">
                  <c:v>0.139449494154706</c:v>
                </c:pt>
                <c:pt idx="1027">
                  <c:v>0.139449494154706</c:v>
                </c:pt>
                <c:pt idx="1028">
                  <c:v>0.139449494154706</c:v>
                </c:pt>
                <c:pt idx="1029">
                  <c:v>0.146802369566366</c:v>
                </c:pt>
                <c:pt idx="1030">
                  <c:v>0.1489104177586</c:v>
                </c:pt>
                <c:pt idx="1031">
                  <c:v>0.167272703393725</c:v>
                </c:pt>
                <c:pt idx="1032">
                  <c:v>0.168024141304106</c:v>
                </c:pt>
                <c:pt idx="1033">
                  <c:v>0.169436106509968</c:v>
                </c:pt>
                <c:pt idx="1034">
                  <c:v>0.169436106509968</c:v>
                </c:pt>
                <c:pt idx="1035">
                  <c:v>0.169436106509968</c:v>
                </c:pt>
                <c:pt idx="1036">
                  <c:v>0.167068906051773</c:v>
                </c:pt>
                <c:pt idx="1037">
                  <c:v>0.16800537868005003</c:v>
                </c:pt>
                <c:pt idx="1038">
                  <c:v>0.18319149414355698</c:v>
                </c:pt>
                <c:pt idx="1039">
                  <c:v>0.16134402517488</c:v>
                </c:pt>
                <c:pt idx="1040">
                  <c:v>0.169139118013177</c:v>
                </c:pt>
                <c:pt idx="1041">
                  <c:v>0.169139118013177</c:v>
                </c:pt>
                <c:pt idx="1042">
                  <c:v>0.169139118013177</c:v>
                </c:pt>
                <c:pt idx="1043">
                  <c:v>0.166332498972818</c:v>
                </c:pt>
                <c:pt idx="1044">
                  <c:v>0.163082003931322</c:v>
                </c:pt>
                <c:pt idx="1045">
                  <c:v>0.127907577855144</c:v>
                </c:pt>
                <c:pt idx="1046">
                  <c:v>0.124604112090485</c:v>
                </c:pt>
                <c:pt idx="1047">
                  <c:v>0.115812734280928</c:v>
                </c:pt>
                <c:pt idx="1048">
                  <c:v>0.115812734280928</c:v>
                </c:pt>
                <c:pt idx="1049">
                  <c:v>0.115812734280928</c:v>
                </c:pt>
                <c:pt idx="1050">
                  <c:v>0.13574797050953</c:v>
                </c:pt>
                <c:pt idx="1051">
                  <c:v>0.130389530936706</c:v>
                </c:pt>
                <c:pt idx="1052">
                  <c:v>0.0944628376628968</c:v>
                </c:pt>
                <c:pt idx="1053">
                  <c:v>0.0820026930545818</c:v>
                </c:pt>
                <c:pt idx="1054">
                  <c:v>0.093419905283763</c:v>
                </c:pt>
                <c:pt idx="1055">
                  <c:v>0.093419905283763</c:v>
                </c:pt>
                <c:pt idx="1056">
                  <c:v>0.093419905283763</c:v>
                </c:pt>
                <c:pt idx="1057">
                  <c:v>0.0909911302471758</c:v>
                </c:pt>
                <c:pt idx="1058">
                  <c:v>0.0715292097171245</c:v>
                </c:pt>
                <c:pt idx="1059">
                  <c:v>0.113187729148555</c:v>
                </c:pt>
                <c:pt idx="1060">
                  <c:v>0.0914243291749564</c:v>
                </c:pt>
                <c:pt idx="1061">
                  <c:v>0.0661843497230368</c:v>
                </c:pt>
                <c:pt idx="1062">
                  <c:v>0.0661843497230368</c:v>
                </c:pt>
                <c:pt idx="1063">
                  <c:v>0.0661843497230368</c:v>
                </c:pt>
                <c:pt idx="1064">
                  <c:v>0.0355760829121868</c:v>
                </c:pt>
                <c:pt idx="1065">
                  <c:v>0.05438162258301191</c:v>
                </c:pt>
                <c:pt idx="1066">
                  <c:v>0.0435178559330172</c:v>
                </c:pt>
                <c:pt idx="1067">
                  <c:v>0.0757561904967624</c:v>
                </c:pt>
                <c:pt idx="1068">
                  <c:v>0.0814884312980087</c:v>
                </c:pt>
                <c:pt idx="1069">
                  <c:v>0.0814884312980087</c:v>
                </c:pt>
                <c:pt idx="1070">
                  <c:v>0.0814884312980087</c:v>
                </c:pt>
                <c:pt idx="1071">
                  <c:v>0.0842971235564948</c:v>
                </c:pt>
                <c:pt idx="1072">
                  <c:v>0.10876254871591</c:v>
                </c:pt>
                <c:pt idx="1073">
                  <c:v>0.110709093215997</c:v>
                </c:pt>
                <c:pt idx="1074">
                  <c:v>0.131139724916211</c:v>
                </c:pt>
                <c:pt idx="1075">
                  <c:v>0.133811170134644</c:v>
                </c:pt>
                <c:pt idx="1076">
                  <c:v>0.133811170134644</c:v>
                </c:pt>
                <c:pt idx="1077">
                  <c:v>0.133811170134644</c:v>
                </c:pt>
                <c:pt idx="1078">
                  <c:v>0.150692763382974</c:v>
                </c:pt>
                <c:pt idx="1079">
                  <c:v>0.142381853874508</c:v>
                </c:pt>
                <c:pt idx="1080">
                  <c:v>0.15028143690644</c:v>
                </c:pt>
                <c:pt idx="1081">
                  <c:v>0.134852754921994</c:v>
                </c:pt>
                <c:pt idx="1082">
                  <c:v>0.153113556529769</c:v>
                </c:pt>
                <c:pt idx="1083">
                  <c:v>0.153113556529769</c:v>
                </c:pt>
                <c:pt idx="1084">
                  <c:v>0.153113556529769</c:v>
                </c:pt>
                <c:pt idx="1085">
                  <c:v>0.144404796462601</c:v>
                </c:pt>
                <c:pt idx="1086">
                  <c:v>0.147647931579744</c:v>
                </c:pt>
                <c:pt idx="1087">
                  <c:v>0.133531078365593</c:v>
                </c:pt>
                <c:pt idx="1088">
                  <c:v>0.125397429007045</c:v>
                </c:pt>
                <c:pt idx="1089">
                  <c:v>0.133699941982093</c:v>
                </c:pt>
                <c:pt idx="1090">
                  <c:v>0.133699941982093</c:v>
                </c:pt>
                <c:pt idx="1091">
                  <c:v>0.133699941982093</c:v>
                </c:pt>
                <c:pt idx="1092">
                  <c:v>0.132275330145652</c:v>
                </c:pt>
                <c:pt idx="1093">
                  <c:v>0.09149492225220421</c:v>
                </c:pt>
                <c:pt idx="1094">
                  <c:v>0.0854156247363828</c:v>
                </c:pt>
                <c:pt idx="1095">
                  <c:v>0.0869181895744252</c:v>
                </c:pt>
                <c:pt idx="1096">
                  <c:v>0.0622133077212621</c:v>
                </c:pt>
                <c:pt idx="1097">
                  <c:v>0.0622133077212621</c:v>
                </c:pt>
                <c:pt idx="1098">
                  <c:v>0.0622133077212621</c:v>
                </c:pt>
                <c:pt idx="1099">
                  <c:v>0.078689586825629</c:v>
                </c:pt>
                <c:pt idx="1100">
                  <c:v>0.0784620511361152</c:v>
                </c:pt>
                <c:pt idx="1101">
                  <c:v>0.106811961440474</c:v>
                </c:pt>
                <c:pt idx="1102">
                  <c:v>0.120201218752713</c:v>
                </c:pt>
                <c:pt idx="1103">
                  <c:v>0.12487062428079901</c:v>
                </c:pt>
                <c:pt idx="1104">
                  <c:v>0.12487062428079901</c:v>
                </c:pt>
                <c:pt idx="1105">
                  <c:v>0.12487062428079901</c:v>
                </c:pt>
                <c:pt idx="1106">
                  <c:v>0.123461976223941</c:v>
                </c:pt>
                <c:pt idx="1107">
                  <c:v>0.125690996693926</c:v>
                </c:pt>
                <c:pt idx="1108">
                  <c:v>0.120741810379507</c:v>
                </c:pt>
                <c:pt idx="1109">
                  <c:v>0.149116495640492</c:v>
                </c:pt>
                <c:pt idx="1110">
                  <c:v>0.14185795165364198</c:v>
                </c:pt>
                <c:pt idx="1111">
                  <c:v>0.14185795165364198</c:v>
                </c:pt>
                <c:pt idx="1112">
                  <c:v>0.14185795165364198</c:v>
                </c:pt>
                <c:pt idx="1113">
                  <c:v>0.146129506623025</c:v>
                </c:pt>
                <c:pt idx="1114">
                  <c:v>0.162812589235629</c:v>
                </c:pt>
                <c:pt idx="1115">
                  <c:v>0.16443851055226802</c:v>
                </c:pt>
                <c:pt idx="1116">
                  <c:v>0.180857154192686</c:v>
                </c:pt>
                <c:pt idx="1117">
                  <c:v>0.179932084264111</c:v>
                </c:pt>
                <c:pt idx="1118">
                  <c:v>0.179932084264111</c:v>
                </c:pt>
                <c:pt idx="1119">
                  <c:v>0.179932084264111</c:v>
                </c:pt>
                <c:pt idx="1120">
                  <c:v>0.17912943786597602</c:v>
                </c:pt>
                <c:pt idx="1121">
                  <c:v>0.159809221794953</c:v>
                </c:pt>
                <c:pt idx="1122">
                  <c:v>0.17098791027854301</c:v>
                </c:pt>
                <c:pt idx="1123">
                  <c:v>0.17123628181024</c:v>
                </c:pt>
                <c:pt idx="1124">
                  <c:v>0.188421705175183</c:v>
                </c:pt>
                <c:pt idx="1125">
                  <c:v>0.188421705175183</c:v>
                </c:pt>
                <c:pt idx="1126">
                  <c:v>0.188421705175183</c:v>
                </c:pt>
                <c:pt idx="1127">
                  <c:v>0.192733895219869</c:v>
                </c:pt>
                <c:pt idx="1128">
                  <c:v>0.193833737436608</c:v>
                </c:pt>
                <c:pt idx="1129">
                  <c:v>0.19695279044880898</c:v>
                </c:pt>
                <c:pt idx="1130">
                  <c:v>0.201962203749837</c:v>
                </c:pt>
                <c:pt idx="1131">
                  <c:v>0.214818954985978</c:v>
                </c:pt>
                <c:pt idx="1132">
                  <c:v>0.214818954985978</c:v>
                </c:pt>
                <c:pt idx="1133">
                  <c:v>0.214818954985978</c:v>
                </c:pt>
                <c:pt idx="1134">
                  <c:v>0.22220676412309</c:v>
                </c:pt>
                <c:pt idx="1135">
                  <c:v>0.19603787928906002</c:v>
                </c:pt>
                <c:pt idx="1136">
                  <c:v>0.204316861238359</c:v>
                </c:pt>
                <c:pt idx="1137">
                  <c:v>0.21265130177257402</c:v>
                </c:pt>
                <c:pt idx="1138">
                  <c:v>0.22129247492878001</c:v>
                </c:pt>
                <c:pt idx="1139">
                  <c:v>0.22129247492878001</c:v>
                </c:pt>
                <c:pt idx="1140">
                  <c:v>0.22129247492878001</c:v>
                </c:pt>
                <c:pt idx="1141">
                  <c:v>0.224092977975662</c:v>
                </c:pt>
                <c:pt idx="1142">
                  <c:v>0.225634726636317</c:v>
                </c:pt>
                <c:pt idx="1143">
                  <c:v>0.21128453272189499</c:v>
                </c:pt>
                <c:pt idx="1144">
                  <c:v>0.213049048670371</c:v>
                </c:pt>
                <c:pt idx="1145">
                  <c:v>0.220802988128832</c:v>
                </c:pt>
                <c:pt idx="1146">
                  <c:v>0.220802988128832</c:v>
                </c:pt>
                <c:pt idx="1147">
                  <c:v>0.220802988128832</c:v>
                </c:pt>
                <c:pt idx="1148">
                  <c:v>0.220388551825108</c:v>
                </c:pt>
                <c:pt idx="1149">
                  <c:v>0.23090287755968</c:v>
                </c:pt>
                <c:pt idx="1150">
                  <c:v>0.22276902087932002</c:v>
                </c:pt>
                <c:pt idx="1151">
                  <c:v>0.18845104121169</c:v>
                </c:pt>
                <c:pt idx="1152">
                  <c:v>0.204563263212835</c:v>
                </c:pt>
                <c:pt idx="1153">
                  <c:v>0.204563263212835</c:v>
                </c:pt>
                <c:pt idx="1154">
                  <c:v>0.204563263212835</c:v>
                </c:pt>
                <c:pt idx="1155">
                  <c:v>0.205424167040357</c:v>
                </c:pt>
                <c:pt idx="1156">
                  <c:v>0.21995991397720802</c:v>
                </c:pt>
                <c:pt idx="1157">
                  <c:v>0.23430461386359203</c:v>
                </c:pt>
                <c:pt idx="1158">
                  <c:v>0.250358682096255</c:v>
                </c:pt>
                <c:pt idx="1159">
                  <c:v>0.248337398082665</c:v>
                </c:pt>
                <c:pt idx="1160">
                  <c:v>0.248337398082665</c:v>
                </c:pt>
                <c:pt idx="1161">
                  <c:v>0.248337398082665</c:v>
                </c:pt>
                <c:pt idx="1162">
                  <c:v>0.251584886957876</c:v>
                </c:pt>
                <c:pt idx="1163">
                  <c:v>0.243750921279686</c:v>
                </c:pt>
                <c:pt idx="1164">
                  <c:v>0.238964067944666</c:v>
                </c:pt>
                <c:pt idx="1165">
                  <c:v>0.23611349667999998</c:v>
                </c:pt>
                <c:pt idx="1166">
                  <c:v>0.218605998878921</c:v>
                </c:pt>
                <c:pt idx="1167">
                  <c:v>0.218605998878921</c:v>
                </c:pt>
                <c:pt idx="1168">
                  <c:v>0.218605998878921</c:v>
                </c:pt>
                <c:pt idx="1169">
                  <c:v>0.227329478794796</c:v>
                </c:pt>
                <c:pt idx="1170">
                  <c:v>0.237055359675409</c:v>
                </c:pt>
                <c:pt idx="1171">
                  <c:v>0.23844306822917702</c:v>
                </c:pt>
                <c:pt idx="1172">
                  <c:v>0.23597034096828298</c:v>
                </c:pt>
                <c:pt idx="1173">
                  <c:v>0.23795596563007698</c:v>
                </c:pt>
                <c:pt idx="1174">
                  <c:v>0.23795596563007698</c:v>
                </c:pt>
                <c:pt idx="1175">
                  <c:v>0.23795596563007698</c:v>
                </c:pt>
                <c:pt idx="1176">
                  <c:v>0.238104304387113</c:v>
                </c:pt>
                <c:pt idx="1177">
                  <c:v>0.236631075585578</c:v>
                </c:pt>
                <c:pt idx="1178">
                  <c:v>0.233450447994984</c:v>
                </c:pt>
                <c:pt idx="1179">
                  <c:v>0.236741578111783</c:v>
                </c:pt>
                <c:pt idx="1180">
                  <c:v>0.244460169201168</c:v>
                </c:pt>
                <c:pt idx="1181">
                  <c:v>0.244460169201168</c:v>
                </c:pt>
                <c:pt idx="1182">
                  <c:v>0.244460169201168</c:v>
                </c:pt>
                <c:pt idx="1183">
                  <c:v>0.257429807164363</c:v>
                </c:pt>
                <c:pt idx="1184">
                  <c:v>0.26763366848431397</c:v>
                </c:pt>
                <c:pt idx="1185">
                  <c:v>0.274373596956523</c:v>
                </c:pt>
                <c:pt idx="1186">
                  <c:v>0.27220418150771</c:v>
                </c:pt>
                <c:pt idx="1187">
                  <c:v>0.280717229783625</c:v>
                </c:pt>
                <c:pt idx="1188">
                  <c:v>0.280717229783625</c:v>
                </c:pt>
                <c:pt idx="1189">
                  <c:v>0.280717229783625</c:v>
                </c:pt>
                <c:pt idx="1190">
                  <c:v>0.274832814771806</c:v>
                </c:pt>
                <c:pt idx="1191">
                  <c:v>0.264808079498087</c:v>
                </c:pt>
                <c:pt idx="1192">
                  <c:v>0.275332874984205</c:v>
                </c:pt>
                <c:pt idx="1193">
                  <c:v>0.270686585838242</c:v>
                </c:pt>
                <c:pt idx="1194">
                  <c:v>0.26232612641652503</c:v>
                </c:pt>
                <c:pt idx="1195">
                  <c:v>0.26232612641652503</c:v>
                </c:pt>
                <c:pt idx="1196">
                  <c:v>0.26232612641652503</c:v>
                </c:pt>
                <c:pt idx="1197">
                  <c:v>0.265079982055534</c:v>
                </c:pt>
                <c:pt idx="1198">
                  <c:v>0.25707549418634096</c:v>
                </c:pt>
                <c:pt idx="1199">
                  <c:v>0.230452678243253</c:v>
                </c:pt>
                <c:pt idx="1200">
                  <c:v>0.228491828538085</c:v>
                </c:pt>
                <c:pt idx="1201">
                  <c:v>0.22545674086005502</c:v>
                </c:pt>
                <c:pt idx="1202">
                  <c:v>0.22545674086005502</c:v>
                </c:pt>
                <c:pt idx="1203">
                  <c:v>0.22545674086005502</c:v>
                </c:pt>
                <c:pt idx="1204">
                  <c:v>0.237964154841681</c:v>
                </c:pt>
                <c:pt idx="1205">
                  <c:v>0.246811613201593</c:v>
                </c:pt>
                <c:pt idx="1206">
                  <c:v>0.24695580552237298</c:v>
                </c:pt>
                <c:pt idx="1207">
                  <c:v>0.243938132876616</c:v>
                </c:pt>
                <c:pt idx="1208">
                  <c:v>0.236683320682395</c:v>
                </c:pt>
                <c:pt idx="1209">
                  <c:v>0.236683320682395</c:v>
                </c:pt>
                <c:pt idx="1210">
                  <c:v>0.236683320682395</c:v>
                </c:pt>
                <c:pt idx="1211">
                  <c:v>0.22554765147495398</c:v>
                </c:pt>
                <c:pt idx="1212">
                  <c:v>0.21843485472247998</c:v>
                </c:pt>
                <c:pt idx="1213">
                  <c:v>0.21843485472247998</c:v>
                </c:pt>
                <c:pt idx="1214">
                  <c:v>0.224089142522125</c:v>
                </c:pt>
                <c:pt idx="1215">
                  <c:v>0.238034644258023</c:v>
                </c:pt>
                <c:pt idx="1216">
                  <c:v>0.238034644258023</c:v>
                </c:pt>
                <c:pt idx="1217">
                  <c:v>0.238034644258023</c:v>
                </c:pt>
                <c:pt idx="1218">
                  <c:v>0.253402269968608</c:v>
                </c:pt>
                <c:pt idx="1219">
                  <c:v>0.227084735394823</c:v>
                </c:pt>
                <c:pt idx="1220">
                  <c:v>0.220763804306219</c:v>
                </c:pt>
                <c:pt idx="1221">
                  <c:v>0.221605116222435</c:v>
                </c:pt>
                <c:pt idx="1222">
                  <c:v>0.20708170493344402</c:v>
                </c:pt>
                <c:pt idx="1223">
                  <c:v>0.20708170493344402</c:v>
                </c:pt>
                <c:pt idx="1224">
                  <c:v>0.20708170493344402</c:v>
                </c:pt>
                <c:pt idx="1225">
                  <c:v>0.196731889057304</c:v>
                </c:pt>
                <c:pt idx="1226">
                  <c:v>0.197356860661896</c:v>
                </c:pt>
                <c:pt idx="1227">
                  <c:v>0.221054884131347</c:v>
                </c:pt>
                <c:pt idx="1228">
                  <c:v>0.219115077590175</c:v>
                </c:pt>
                <c:pt idx="1229">
                  <c:v>0.227483518901684</c:v>
                </c:pt>
                <c:pt idx="1230">
                  <c:v>0.227483518901684</c:v>
                </c:pt>
                <c:pt idx="1231">
                  <c:v>0.227483518901684</c:v>
                </c:pt>
                <c:pt idx="1232">
                  <c:v>0.231520385579012</c:v>
                </c:pt>
                <c:pt idx="1233">
                  <c:v>0.241168624440743</c:v>
                </c:pt>
                <c:pt idx="1234">
                  <c:v>0.250290265898041</c:v>
                </c:pt>
                <c:pt idx="1235">
                  <c:v>0.258049906706354</c:v>
                </c:pt>
                <c:pt idx="1236">
                  <c:v>0.262176336406799</c:v>
                </c:pt>
                <c:pt idx="1237">
                  <c:v>0.262176336406799</c:v>
                </c:pt>
                <c:pt idx="1238">
                  <c:v>0.262176336406799</c:v>
                </c:pt>
                <c:pt idx="1239">
                  <c:v>0.22960773819531302</c:v>
                </c:pt>
                <c:pt idx="1240">
                  <c:v>0.246956842131437</c:v>
                </c:pt>
                <c:pt idx="1241">
                  <c:v>0.24289613344563998</c:v>
                </c:pt>
                <c:pt idx="1242">
                  <c:v>0.255467298884692</c:v>
                </c:pt>
                <c:pt idx="1243">
                  <c:v>0.248094624239913</c:v>
                </c:pt>
                <c:pt idx="1244">
                  <c:v>0.248094624239913</c:v>
                </c:pt>
                <c:pt idx="1245">
                  <c:v>0.248094624239913</c:v>
                </c:pt>
                <c:pt idx="1246">
                  <c:v>0.236469571893431</c:v>
                </c:pt>
                <c:pt idx="1247">
                  <c:v>0.249923720933066</c:v>
                </c:pt>
                <c:pt idx="1248">
                  <c:v>0.259110254117761</c:v>
                </c:pt>
                <c:pt idx="1249">
                  <c:v>0.273199429869907</c:v>
                </c:pt>
                <c:pt idx="1250">
                  <c:v>0.270182379189588</c:v>
                </c:pt>
                <c:pt idx="1251">
                  <c:v>0.270182379189588</c:v>
                </c:pt>
                <c:pt idx="1252">
                  <c:v>0.270182379189588</c:v>
                </c:pt>
                <c:pt idx="1253">
                  <c:v>0.276097270507884</c:v>
                </c:pt>
                <c:pt idx="1254">
                  <c:v>0.270250484405083</c:v>
                </c:pt>
                <c:pt idx="1255">
                  <c:v>0.271196804819466</c:v>
                </c:pt>
                <c:pt idx="1256">
                  <c:v>0.282361810063414</c:v>
                </c:pt>
                <c:pt idx="1257">
                  <c:v>0.287275026043317</c:v>
                </c:pt>
                <c:pt idx="1258">
                  <c:v>0.287275026043317</c:v>
                </c:pt>
                <c:pt idx="1259">
                  <c:v>0.287275026043317</c:v>
                </c:pt>
                <c:pt idx="1260">
                  <c:v>0.28944070969950003</c:v>
                </c:pt>
                <c:pt idx="1261">
                  <c:v>0.291669730169485</c:v>
                </c:pt>
                <c:pt idx="1262">
                  <c:v>0.278529984658913</c:v>
                </c:pt>
                <c:pt idx="1263">
                  <c:v>0.27770660607950204</c:v>
                </c:pt>
                <c:pt idx="1264">
                  <c:v>0.272871446762106</c:v>
                </c:pt>
                <c:pt idx="1265">
                  <c:v>0.272871446762106</c:v>
                </c:pt>
                <c:pt idx="1266">
                  <c:v>0.272871446762106</c:v>
                </c:pt>
                <c:pt idx="1267">
                  <c:v>0.260375642801995</c:v>
                </c:pt>
                <c:pt idx="1268">
                  <c:v>0.247536824902658</c:v>
                </c:pt>
                <c:pt idx="1269">
                  <c:v>0.253134099203792</c:v>
                </c:pt>
                <c:pt idx="1270">
                  <c:v>0.232987913030697</c:v>
                </c:pt>
                <c:pt idx="1271">
                  <c:v>0.237359189792022</c:v>
                </c:pt>
                <c:pt idx="1272">
                  <c:v>0.237359189792022</c:v>
                </c:pt>
                <c:pt idx="1273">
                  <c:v>0.237359189792022</c:v>
                </c:pt>
                <c:pt idx="1274">
                  <c:v>0.223580582115403</c:v>
                </c:pt>
                <c:pt idx="1275">
                  <c:v>0.212560080174955</c:v>
                </c:pt>
                <c:pt idx="1276">
                  <c:v>0.230986531911133</c:v>
                </c:pt>
                <c:pt idx="1277">
                  <c:v>0.22014878414864</c:v>
                </c:pt>
                <c:pt idx="1278">
                  <c:v>0.22559844531908302</c:v>
                </c:pt>
                <c:pt idx="1279">
                  <c:v>0.22559844531908302</c:v>
                </c:pt>
                <c:pt idx="1280">
                  <c:v>0.22559844531908302</c:v>
                </c:pt>
                <c:pt idx="1281">
                  <c:v>0.19344075894050503</c:v>
                </c:pt>
                <c:pt idx="1282">
                  <c:v>0.18604952899348198</c:v>
                </c:pt>
                <c:pt idx="1283">
                  <c:v>0.187041149223955</c:v>
                </c:pt>
                <c:pt idx="1284">
                  <c:v>0.17405119372310998</c:v>
                </c:pt>
                <c:pt idx="1285">
                  <c:v>0.19507911956590998</c:v>
                </c:pt>
                <c:pt idx="1286">
                  <c:v>0.19507911956590998</c:v>
                </c:pt>
                <c:pt idx="1287">
                  <c:v>0.19507911956590998</c:v>
                </c:pt>
                <c:pt idx="1288">
                  <c:v>0.20469926632201102</c:v>
                </c:pt>
                <c:pt idx="1289">
                  <c:v>0.196835031659156</c:v>
                </c:pt>
                <c:pt idx="1290">
                  <c:v>0.20825276219286898</c:v>
                </c:pt>
                <c:pt idx="1291">
                  <c:v>0.203066296063737</c:v>
                </c:pt>
                <c:pt idx="1292">
                  <c:v>0.20014544270454301</c:v>
                </c:pt>
                <c:pt idx="1293">
                  <c:v>0.20014544270454301</c:v>
                </c:pt>
                <c:pt idx="1294">
                  <c:v>0.20014544270454301</c:v>
                </c:pt>
                <c:pt idx="1295">
                  <c:v>0.215222610555439</c:v>
                </c:pt>
                <c:pt idx="1296">
                  <c:v>0.213675575188558</c:v>
                </c:pt>
                <c:pt idx="1297">
                  <c:v>0.203839606425365</c:v>
                </c:pt>
                <c:pt idx="1298">
                  <c:v>0.19914200513074198</c:v>
                </c:pt>
                <c:pt idx="1299">
                  <c:v>0.18147383292476701</c:v>
                </c:pt>
                <c:pt idx="1300">
                  <c:v>0.18147383292476701</c:v>
                </c:pt>
                <c:pt idx="1301">
                  <c:v>0.18147383292476701</c:v>
                </c:pt>
                <c:pt idx="1302">
                  <c:v>0.17995717020345603</c:v>
                </c:pt>
                <c:pt idx="1303">
                  <c:v>0.188670802333225</c:v>
                </c:pt>
                <c:pt idx="1304">
                  <c:v>0.18872035224647699</c:v>
                </c:pt>
                <c:pt idx="1305">
                  <c:v>0.14670513563617799</c:v>
                </c:pt>
                <c:pt idx="1306">
                  <c:v>0.0858340001545504</c:v>
                </c:pt>
                <c:pt idx="1307">
                  <c:v>0.0858340001545504</c:v>
                </c:pt>
                <c:pt idx="1308">
                  <c:v>0.0858340001545504</c:v>
                </c:pt>
                <c:pt idx="1309">
                  <c:v>0.0655596891011643</c:v>
                </c:pt>
                <c:pt idx="1310">
                  <c:v>0.0572842316226824</c:v>
                </c:pt>
                <c:pt idx="1311">
                  <c:v>0.124211444577101</c:v>
                </c:pt>
                <c:pt idx="1312">
                  <c:v>0.109962009063684</c:v>
                </c:pt>
                <c:pt idx="1313">
                  <c:v>0.136776079379051</c:v>
                </c:pt>
                <c:pt idx="1314">
                  <c:v>0.136776079379051</c:v>
                </c:pt>
                <c:pt idx="1315">
                  <c:v>0.136776079379051</c:v>
                </c:pt>
                <c:pt idx="1316">
                  <c:v>0.15154413040710898</c:v>
                </c:pt>
                <c:pt idx="1317">
                  <c:v>0.15069317802659898</c:v>
                </c:pt>
                <c:pt idx="1318">
                  <c:v>0.134593084351501</c:v>
                </c:pt>
                <c:pt idx="1319">
                  <c:v>0.138269833040051</c:v>
                </c:pt>
                <c:pt idx="1320">
                  <c:v>0.138644774538443</c:v>
                </c:pt>
                <c:pt idx="1321">
                  <c:v>0.138644774538443</c:v>
                </c:pt>
                <c:pt idx="1322">
                  <c:v>0.138644774538443</c:v>
                </c:pt>
                <c:pt idx="1323">
                  <c:v>0.122642640419879</c:v>
                </c:pt>
                <c:pt idx="1324">
                  <c:v>0.135709304991449</c:v>
                </c:pt>
                <c:pt idx="1325">
                  <c:v>0.159285734217711</c:v>
                </c:pt>
                <c:pt idx="1326">
                  <c:v>0.175135175821172</c:v>
                </c:pt>
                <c:pt idx="1327">
                  <c:v>0.18074945051095198</c:v>
                </c:pt>
                <c:pt idx="1328">
                  <c:v>0.18074945051095198</c:v>
                </c:pt>
                <c:pt idx="1329">
                  <c:v>0.18074945051095198</c:v>
                </c:pt>
                <c:pt idx="1330">
                  <c:v>0.178150671587895</c:v>
                </c:pt>
                <c:pt idx="1331">
                  <c:v>0.187673999057432</c:v>
                </c:pt>
                <c:pt idx="1332">
                  <c:v>0.191494525423137</c:v>
                </c:pt>
                <c:pt idx="1333">
                  <c:v>0.198201489727116</c:v>
                </c:pt>
                <c:pt idx="1334">
                  <c:v>0.216795561148917</c:v>
                </c:pt>
                <c:pt idx="1335">
                  <c:v>0.216795561148917</c:v>
                </c:pt>
                <c:pt idx="1336">
                  <c:v>0.216795561148917</c:v>
                </c:pt>
                <c:pt idx="1337">
                  <c:v>0.210563778439804</c:v>
                </c:pt>
                <c:pt idx="1338">
                  <c:v>0.20582782260981802</c:v>
                </c:pt>
                <c:pt idx="1339">
                  <c:v>0.20864107594818598</c:v>
                </c:pt>
                <c:pt idx="1340">
                  <c:v>0.210193605343105</c:v>
                </c:pt>
                <c:pt idx="1341">
                  <c:v>0.21024947857164603</c:v>
                </c:pt>
                <c:pt idx="1342">
                  <c:v>0.21024947857164603</c:v>
                </c:pt>
                <c:pt idx="1343">
                  <c:v>0.21024947857164603</c:v>
                </c:pt>
                <c:pt idx="1344">
                  <c:v>0.244969766216954</c:v>
                </c:pt>
                <c:pt idx="1345">
                  <c:v>0.254141268570223</c:v>
                </c:pt>
                <c:pt idx="1346">
                  <c:v>0.26592989782698</c:v>
                </c:pt>
                <c:pt idx="1347">
                  <c:v>0.270853272575708</c:v>
                </c:pt>
                <c:pt idx="1348">
                  <c:v>0.272843976621915</c:v>
                </c:pt>
                <c:pt idx="1349">
                  <c:v>0.272843976621915</c:v>
                </c:pt>
                <c:pt idx="1350">
                  <c:v>0.272843976621915</c:v>
                </c:pt>
                <c:pt idx="1351">
                  <c:v>0.275353710826388</c:v>
                </c:pt>
                <c:pt idx="1352">
                  <c:v>0.277477515476392</c:v>
                </c:pt>
                <c:pt idx="1353">
                  <c:v>0.26581835869171</c:v>
                </c:pt>
                <c:pt idx="1354">
                  <c:v>0.265638921662758</c:v>
                </c:pt>
                <c:pt idx="1355">
                  <c:v>0.264166729470287</c:v>
                </c:pt>
                <c:pt idx="1356">
                  <c:v>0.264166729470287</c:v>
                </c:pt>
                <c:pt idx="1357">
                  <c:v>0.264166729470287</c:v>
                </c:pt>
                <c:pt idx="1358">
                  <c:v>0.268137875132968</c:v>
                </c:pt>
                <c:pt idx="1359">
                  <c:v>0.28412228323654104</c:v>
                </c:pt>
                <c:pt idx="1360">
                  <c:v>0.268296061676111</c:v>
                </c:pt>
                <c:pt idx="1361">
                  <c:v>0.277964203431867</c:v>
                </c:pt>
                <c:pt idx="1362">
                  <c:v>0.274832814771806</c:v>
                </c:pt>
                <c:pt idx="1363">
                  <c:v>0.274832814771806</c:v>
                </c:pt>
                <c:pt idx="1364">
                  <c:v>0.274832814771806</c:v>
                </c:pt>
                <c:pt idx="1365">
                  <c:v>0.28609070018787497</c:v>
                </c:pt>
                <c:pt idx="1366">
                  <c:v>0.284708796644864</c:v>
                </c:pt>
                <c:pt idx="1367">
                  <c:v>0.292139417736313</c:v>
                </c:pt>
                <c:pt idx="1368">
                  <c:v>0.287585283136125</c:v>
                </c:pt>
                <c:pt idx="1369">
                  <c:v>0.29927242836553203</c:v>
                </c:pt>
                <c:pt idx="1370">
                  <c:v>0.29927242836553203</c:v>
                </c:pt>
                <c:pt idx="1371">
                  <c:v>0.29927242836553203</c:v>
                </c:pt>
                <c:pt idx="1372">
                  <c:v>0.297084975919007</c:v>
                </c:pt>
                <c:pt idx="1373">
                  <c:v>0.308441753839766</c:v>
                </c:pt>
                <c:pt idx="1374">
                  <c:v>0.306432598152224</c:v>
                </c:pt>
                <c:pt idx="1375">
                  <c:v>0.31031501007904</c:v>
                </c:pt>
                <c:pt idx="1376">
                  <c:v>0.289445789083913</c:v>
                </c:pt>
                <c:pt idx="1377">
                  <c:v>0.289445789083913</c:v>
                </c:pt>
                <c:pt idx="1378">
                  <c:v>0.289445789083913</c:v>
                </c:pt>
                <c:pt idx="1379">
                  <c:v>0.300266743779571</c:v>
                </c:pt>
                <c:pt idx="1380">
                  <c:v>0.28645838542282</c:v>
                </c:pt>
                <c:pt idx="1381">
                  <c:v>0.284214852425942</c:v>
                </c:pt>
                <c:pt idx="1382">
                  <c:v>0.283060484572445</c:v>
                </c:pt>
                <c:pt idx="1383">
                  <c:v>0.279349527784789</c:v>
                </c:pt>
                <c:pt idx="1384">
                  <c:v>0.279349527784789</c:v>
                </c:pt>
                <c:pt idx="1385">
                  <c:v>0.279349527784789</c:v>
                </c:pt>
                <c:pt idx="1386">
                  <c:v>0.286680427084296</c:v>
                </c:pt>
                <c:pt idx="1387">
                  <c:v>0.30529212086018204</c:v>
                </c:pt>
                <c:pt idx="1388">
                  <c:v>0.30204660154219204</c:v>
                </c:pt>
                <c:pt idx="1389">
                  <c:v>0.31612914299633</c:v>
                </c:pt>
                <c:pt idx="1390">
                  <c:v>0.32512887922771905</c:v>
                </c:pt>
                <c:pt idx="1391">
                  <c:v>0.32512887922771905</c:v>
                </c:pt>
                <c:pt idx="1392">
                  <c:v>0.32512887922771905</c:v>
                </c:pt>
                <c:pt idx="1393">
                  <c:v>0.33083105836611404</c:v>
                </c:pt>
                <c:pt idx="1394">
                  <c:v>0.332533481431666</c:v>
                </c:pt>
                <c:pt idx="1395">
                  <c:v>0.34425638967377403</c:v>
                </c:pt>
                <c:pt idx="1396">
                  <c:v>0.356168479070035</c:v>
                </c:pt>
                <c:pt idx="1397">
                  <c:v>0.356344495289076</c:v>
                </c:pt>
                <c:pt idx="1398">
                  <c:v>0.356344495289076</c:v>
                </c:pt>
                <c:pt idx="1399">
                  <c:v>0.356344495289076</c:v>
                </c:pt>
                <c:pt idx="1400">
                  <c:v>0.34161593906634996</c:v>
                </c:pt>
                <c:pt idx="1401">
                  <c:v>0.338026265539164</c:v>
                </c:pt>
                <c:pt idx="1402">
                  <c:v>0.34132662147663095</c:v>
                </c:pt>
                <c:pt idx="1403">
                  <c:v>0.34013638694952497</c:v>
                </c:pt>
                <c:pt idx="1404">
                  <c:v>0.328227200058644</c:v>
                </c:pt>
                <c:pt idx="1405">
                  <c:v>0.328227200058644</c:v>
                </c:pt>
                <c:pt idx="1406">
                  <c:v>0.328227200058644</c:v>
                </c:pt>
                <c:pt idx="1407">
                  <c:v>0.328225956127767</c:v>
                </c:pt>
                <c:pt idx="1408">
                  <c:v>0.32736453399571197</c:v>
                </c:pt>
                <c:pt idx="1409">
                  <c:v>0.33072221441441</c:v>
                </c:pt>
                <c:pt idx="1410">
                  <c:v>0.34212543242122995</c:v>
                </c:pt>
                <c:pt idx="1411">
                  <c:v>0.344013719491929</c:v>
                </c:pt>
                <c:pt idx="1412">
                  <c:v>0.344013719491929</c:v>
                </c:pt>
                <c:pt idx="1413">
                  <c:v>0.344013719491929</c:v>
                </c:pt>
                <c:pt idx="1414">
                  <c:v>0.34595798345207496</c:v>
                </c:pt>
                <c:pt idx="1415">
                  <c:v>0.35446636698720296</c:v>
                </c:pt>
                <c:pt idx="1416">
                  <c:v>0.368690198256742</c:v>
                </c:pt>
                <c:pt idx="1417">
                  <c:v>0.36986996303230396</c:v>
                </c:pt>
                <c:pt idx="1418">
                  <c:v>0.371792769184828</c:v>
                </c:pt>
                <c:pt idx="1419">
                  <c:v>0.371792769184828</c:v>
                </c:pt>
                <c:pt idx="1420">
                  <c:v>0.371792769184828</c:v>
                </c:pt>
                <c:pt idx="1421">
                  <c:v>0.364429942326155</c:v>
                </c:pt>
                <c:pt idx="1422">
                  <c:v>0.356594940038901</c:v>
                </c:pt>
                <c:pt idx="1423">
                  <c:v>0.349759954515537</c:v>
                </c:pt>
                <c:pt idx="1424">
                  <c:v>0.346504898394159</c:v>
                </c:pt>
                <c:pt idx="1425">
                  <c:v>0.324536768130452</c:v>
                </c:pt>
                <c:pt idx="1426">
                  <c:v>0.324536768130452</c:v>
                </c:pt>
                <c:pt idx="1427">
                  <c:v>0.324536768130452</c:v>
                </c:pt>
                <c:pt idx="1428">
                  <c:v>0.34012353299713405</c:v>
                </c:pt>
                <c:pt idx="1429">
                  <c:v>0.336957314272528</c:v>
                </c:pt>
                <c:pt idx="1430">
                  <c:v>0.339096875380302</c:v>
                </c:pt>
                <c:pt idx="1431">
                  <c:v>0.35111044880391296</c:v>
                </c:pt>
                <c:pt idx="1432">
                  <c:v>0.36021125441902796</c:v>
                </c:pt>
                <c:pt idx="1433">
                  <c:v>0.36021125441902796</c:v>
                </c:pt>
                <c:pt idx="1434">
                  <c:v>0.36021125441902796</c:v>
                </c:pt>
                <c:pt idx="1435">
                  <c:v>0.35339430589337506</c:v>
                </c:pt>
                <c:pt idx="1436">
                  <c:v>0.37039137739141703</c:v>
                </c:pt>
                <c:pt idx="1437">
                  <c:v>0.372023622023346</c:v>
                </c:pt>
                <c:pt idx="1438">
                  <c:v>0.37327843729513</c:v>
                </c:pt>
                <c:pt idx="1439">
                  <c:v>0.369553071641486</c:v>
                </c:pt>
                <c:pt idx="1440">
                  <c:v>0.369553071641486</c:v>
                </c:pt>
                <c:pt idx="1441">
                  <c:v>0.369553071641486</c:v>
                </c:pt>
                <c:pt idx="1442">
                  <c:v>0.36619207407378396</c:v>
                </c:pt>
                <c:pt idx="1443">
                  <c:v>0.359563581075938</c:v>
                </c:pt>
                <c:pt idx="1444">
                  <c:v>0.353353567157166</c:v>
                </c:pt>
                <c:pt idx="1445">
                  <c:v>0.349934623142794</c:v>
                </c:pt>
                <c:pt idx="1446">
                  <c:v>0.374161420895713</c:v>
                </c:pt>
                <c:pt idx="1447">
                  <c:v>0.374161420895713</c:v>
                </c:pt>
                <c:pt idx="1448">
                  <c:v>0.374161420895713</c:v>
                </c:pt>
                <c:pt idx="1449">
                  <c:v>0.36349699416869496</c:v>
                </c:pt>
                <c:pt idx="1450">
                  <c:v>0.366978549370523</c:v>
                </c:pt>
                <c:pt idx="1451">
                  <c:v>0.369903652826878</c:v>
                </c:pt>
                <c:pt idx="1452">
                  <c:v>0.371424047340819</c:v>
                </c:pt>
                <c:pt idx="1453">
                  <c:v>0.369634549113904</c:v>
                </c:pt>
                <c:pt idx="1454">
                  <c:v>0.369634549113904</c:v>
                </c:pt>
                <c:pt idx="1455">
                  <c:v>0.369634549113904</c:v>
                </c:pt>
                <c:pt idx="1456">
                  <c:v>0.370664834862459</c:v>
                </c:pt>
                <c:pt idx="1457">
                  <c:v>0.35741873326193796</c:v>
                </c:pt>
                <c:pt idx="1458">
                  <c:v>0.36754205005762797</c:v>
                </c:pt>
                <c:pt idx="1459">
                  <c:v>0.37620571763051996</c:v>
                </c:pt>
                <c:pt idx="1460">
                  <c:v>0.377475771055542</c:v>
                </c:pt>
                <c:pt idx="1461">
                  <c:v>0.377475771055542</c:v>
                </c:pt>
                <c:pt idx="1462">
                  <c:v>0.377475771055542</c:v>
                </c:pt>
                <c:pt idx="1463">
                  <c:v>0.381284894721544</c:v>
                </c:pt>
                <c:pt idx="1464">
                  <c:v>0.38859775702334</c:v>
                </c:pt>
                <c:pt idx="1465">
                  <c:v>0.38382334299708604</c:v>
                </c:pt>
                <c:pt idx="1466">
                  <c:v>0.397753606579745</c:v>
                </c:pt>
                <c:pt idx="1467">
                  <c:v>0.396985064619811</c:v>
                </c:pt>
                <c:pt idx="1468">
                  <c:v>0.396985064619811</c:v>
                </c:pt>
                <c:pt idx="1469">
                  <c:v>0.396985064619811</c:v>
                </c:pt>
                <c:pt idx="1470">
                  <c:v>0.401343072785119</c:v>
                </c:pt>
                <c:pt idx="1471">
                  <c:v>0.405684806188124</c:v>
                </c:pt>
                <c:pt idx="1472">
                  <c:v>0.403061355969347</c:v>
                </c:pt>
                <c:pt idx="1473">
                  <c:v>0.411205267757627</c:v>
                </c:pt>
                <c:pt idx="1474">
                  <c:v>0.413233808034664</c:v>
                </c:pt>
                <c:pt idx="1475">
                  <c:v>0.413233808034664</c:v>
                </c:pt>
                <c:pt idx="1476">
                  <c:v>0.413233808034664</c:v>
                </c:pt>
                <c:pt idx="1477">
                  <c:v>0.419837111432259</c:v>
                </c:pt>
                <c:pt idx="1478">
                  <c:v>0.42068930774364505</c:v>
                </c:pt>
                <c:pt idx="1479">
                  <c:v>0.41917451091865</c:v>
                </c:pt>
                <c:pt idx="1480">
                  <c:v>0.404374946975051</c:v>
                </c:pt>
                <c:pt idx="1481">
                  <c:v>0.408008780048357</c:v>
                </c:pt>
                <c:pt idx="1482">
                  <c:v>0.408008780048357</c:v>
                </c:pt>
                <c:pt idx="1483">
                  <c:v>0.408008780048357</c:v>
                </c:pt>
                <c:pt idx="1484">
                  <c:v>0.417815101792324</c:v>
                </c:pt>
                <c:pt idx="1485">
                  <c:v>0.421500247014291</c:v>
                </c:pt>
              </c:numCache>
            </c:numRef>
          </c:val>
          <c:smooth val="0"/>
          <c:extLst>
            <c:ext xmlns:c16="http://schemas.microsoft.com/office/drawing/2014/chart" uri="{C3380CC4-5D6E-409C-BE32-E72D297353CC}">
              <c16:uniqueId val="{00000000-1D55-4091-B462-1B341D70D85C}"/>
            </c:ext>
          </c:extLst>
        </c:ser>
        <c:ser>
          <c:idx val="1"/>
          <c:order val="1"/>
          <c:tx>
            <c:strRef>
              <c:f>Sheet1!$C$1</c:f>
              <c:strCache>
                <c:ptCount val="1"/>
                <c:pt idx="0">
                  <c:v>Benchmark return USD </c:v>
                </c:pt>
              </c:strCache>
            </c:strRef>
          </c:tx>
          <c:spPr>
            <a:ln w="12700" cap="rnd">
              <a:solidFill>
                <a:schemeClr val="tx1"/>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C$2:$C$1487</c:f>
              <c:numCache>
                <c:formatCode>General</c:formatCode>
                <c:ptCount val="1486"/>
                <c:pt idx="0">
                  <c:v>0.0</c:v>
                </c:pt>
                <c:pt idx="1">
                  <c:v>-0.001519698156074667</c:v>
                </c:pt>
                <c:pt idx="2">
                  <c:v>-0.006838369229432595</c:v>
                </c:pt>
                <c:pt idx="3">
                  <c:v>-0.009497549067309707</c:v>
                </c:pt>
                <c:pt idx="4">
                  <c:v>-0.015291101486503256</c:v>
                </c:pt>
                <c:pt idx="5">
                  <c:v>-0.015291101486503256</c:v>
                </c:pt>
                <c:pt idx="6">
                  <c:v>-0.015291101486503256</c:v>
                </c:pt>
                <c:pt idx="7">
                  <c:v>-0.01168223680635605</c:v>
                </c:pt>
                <c:pt idx="8">
                  <c:v>-0.0175705319465137</c:v>
                </c:pt>
                <c:pt idx="9">
                  <c:v>-0.01168223680635605</c:v>
                </c:pt>
                <c:pt idx="10">
                  <c:v>-0.014246362525665135</c:v>
                </c:pt>
                <c:pt idx="11">
                  <c:v>-0.024028840400476148</c:v>
                </c:pt>
                <c:pt idx="12">
                  <c:v>-0.024028840400476148</c:v>
                </c:pt>
                <c:pt idx="13">
                  <c:v>-0.024028840400476148</c:v>
                </c:pt>
                <c:pt idx="14">
                  <c:v>-0.04121954511972237</c:v>
                </c:pt>
                <c:pt idx="15">
                  <c:v>-0.03894027035851366</c:v>
                </c:pt>
                <c:pt idx="16">
                  <c:v>-0.03010747732597263</c:v>
                </c:pt>
                <c:pt idx="17">
                  <c:v>-0.019470135179256665</c:v>
                </c:pt>
                <c:pt idx="18">
                  <c:v>-0.022224524834503656</c:v>
                </c:pt>
                <c:pt idx="19">
                  <c:v>-0.022224524834503656</c:v>
                </c:pt>
                <c:pt idx="20">
                  <c:v>-0.022224524834503656</c:v>
                </c:pt>
                <c:pt idx="21">
                  <c:v>-0.02326918594594085</c:v>
                </c:pt>
                <c:pt idx="22">
                  <c:v>-0.04254921288806157</c:v>
                </c:pt>
                <c:pt idx="23">
                  <c:v>-0.04416388731330334</c:v>
                </c:pt>
                <c:pt idx="24">
                  <c:v>-0.05100217869333501</c:v>
                </c:pt>
                <c:pt idx="25">
                  <c:v>-0.04302409423389708</c:v>
                </c:pt>
                <c:pt idx="26">
                  <c:v>-0.04302409423389708</c:v>
                </c:pt>
                <c:pt idx="27">
                  <c:v>-0.04302409423389708</c:v>
                </c:pt>
                <c:pt idx="28">
                  <c:v>-0.05480115161061827</c:v>
                </c:pt>
                <c:pt idx="29">
                  <c:v>-0.04663327031164799</c:v>
                </c:pt>
                <c:pt idx="30">
                  <c:v>-0.04587330445950932</c:v>
                </c:pt>
                <c:pt idx="31">
                  <c:v>-0.0354259927005286</c:v>
                </c:pt>
                <c:pt idx="32">
                  <c:v>-0.036470809510767754</c:v>
                </c:pt>
                <c:pt idx="33">
                  <c:v>-0.036470809510767754</c:v>
                </c:pt>
                <c:pt idx="34">
                  <c:v>-0.036470809510767754</c:v>
                </c:pt>
                <c:pt idx="35">
                  <c:v>-0.042169307811393164</c:v>
                </c:pt>
                <c:pt idx="36">
                  <c:v>-0.0434039993105656</c:v>
                </c:pt>
                <c:pt idx="37">
                  <c:v>-0.036185725004464486</c:v>
                </c:pt>
                <c:pt idx="38">
                  <c:v>-0.02374391159297451</c:v>
                </c:pt>
                <c:pt idx="39">
                  <c:v>-0.01576606068173947</c:v>
                </c:pt>
                <c:pt idx="40">
                  <c:v>-0.01576606068173947</c:v>
                </c:pt>
                <c:pt idx="41">
                  <c:v>-0.01576606068173947</c:v>
                </c:pt>
                <c:pt idx="42">
                  <c:v>-0.015196280916137894</c:v>
                </c:pt>
                <c:pt idx="43">
                  <c:v>-0.006838369229432484</c:v>
                </c:pt>
                <c:pt idx="44">
                  <c:v>-0.003894104885252103</c:v>
                </c:pt>
                <c:pt idx="45">
                  <c:v>-0.0037041523469178994</c:v>
                </c:pt>
                <c:pt idx="46">
                  <c:v>-0.003609098228349761</c:v>
                </c:pt>
                <c:pt idx="47">
                  <c:v>-0.003609098228349761</c:v>
                </c:pt>
                <c:pt idx="48">
                  <c:v>-0.003609098228349761</c:v>
                </c:pt>
                <c:pt idx="49">
                  <c:v>-0.00019010823713594416</c:v>
                </c:pt>
                <c:pt idx="50">
                  <c:v>-0.0007598101533367041</c:v>
                </c:pt>
                <c:pt idx="51">
                  <c:v>-0.00569865399942715</c:v>
                </c:pt>
                <c:pt idx="52">
                  <c:v>0.002944186494779677</c:v>
                </c:pt>
                <c:pt idx="53">
                  <c:v>0.00018979683953257442</c:v>
                </c:pt>
                <c:pt idx="54">
                  <c:v>0.00018979683953257442</c:v>
                </c:pt>
                <c:pt idx="55">
                  <c:v>0.00018979683953257442</c:v>
                </c:pt>
                <c:pt idx="56">
                  <c:v>0.005223539105389197</c:v>
                </c:pt>
                <c:pt idx="57">
                  <c:v>0.005793396720391808</c:v>
                </c:pt>
                <c:pt idx="58">
                  <c:v>0.012251860873156106</c:v>
                </c:pt>
                <c:pt idx="59">
                  <c:v>0.01443615936519782</c:v>
                </c:pt>
                <c:pt idx="60">
                  <c:v>0.01643066101770696</c:v>
                </c:pt>
                <c:pt idx="61">
                  <c:v>0.01643066101770696</c:v>
                </c:pt>
                <c:pt idx="62">
                  <c:v>0.01643066101770696</c:v>
                </c:pt>
                <c:pt idx="63">
                  <c:v>0.01833018640104922</c:v>
                </c:pt>
                <c:pt idx="64">
                  <c:v>0.015765904982938173</c:v>
                </c:pt>
                <c:pt idx="65">
                  <c:v>0.006553284723129771</c:v>
                </c:pt>
                <c:pt idx="66">
                  <c:v>0.009877376294577633</c:v>
                </c:pt>
                <c:pt idx="67">
                  <c:v>0.01690554236354247</c:v>
                </c:pt>
                <c:pt idx="68">
                  <c:v>0.01690554236354247</c:v>
                </c:pt>
                <c:pt idx="69">
                  <c:v>0.01690554236354247</c:v>
                </c:pt>
                <c:pt idx="70">
                  <c:v>0.01633584044734171</c:v>
                </c:pt>
                <c:pt idx="71">
                  <c:v>0.01842531836901795</c:v>
                </c:pt>
                <c:pt idx="72">
                  <c:v>0.015575952444603747</c:v>
                </c:pt>
                <c:pt idx="73">
                  <c:v>0.015860959101505978</c:v>
                </c:pt>
                <c:pt idx="74">
                  <c:v>0.012251860873155884</c:v>
                </c:pt>
                <c:pt idx="75">
                  <c:v>0.012251860873155884</c:v>
                </c:pt>
                <c:pt idx="76">
                  <c:v>0.012251860873155884</c:v>
                </c:pt>
                <c:pt idx="77">
                  <c:v>0.006173379646461141</c:v>
                </c:pt>
                <c:pt idx="78">
                  <c:v>0.005888528688360761</c:v>
                </c:pt>
                <c:pt idx="79">
                  <c:v>0.006268355915628243</c:v>
                </c:pt>
                <c:pt idx="80">
                  <c:v>0.006268355915628243</c:v>
                </c:pt>
                <c:pt idx="81">
                  <c:v>-0.018235365830683303</c:v>
                </c:pt>
                <c:pt idx="82">
                  <c:v>-0.018235365830683303</c:v>
                </c:pt>
                <c:pt idx="83">
                  <c:v>-0.018235365830683303</c:v>
                </c:pt>
                <c:pt idx="84">
                  <c:v>-0.009402572798142383</c:v>
                </c:pt>
                <c:pt idx="85">
                  <c:v>-0.022889280869272444</c:v>
                </c:pt>
                <c:pt idx="86">
                  <c:v>-0.03371649770492158</c:v>
                </c:pt>
                <c:pt idx="87">
                  <c:v>-0.01975506398675797</c:v>
                </c:pt>
                <c:pt idx="88">
                  <c:v>-0.028112897824062455</c:v>
                </c:pt>
                <c:pt idx="89">
                  <c:v>-0.028112897824062455</c:v>
                </c:pt>
                <c:pt idx="90">
                  <c:v>-0.028112897824062455</c:v>
                </c:pt>
                <c:pt idx="91">
                  <c:v>-0.018330342099850516</c:v>
                </c:pt>
                <c:pt idx="92">
                  <c:v>0.002944186494779455</c:v>
                </c:pt>
                <c:pt idx="93">
                  <c:v>0.005793396720391808</c:v>
                </c:pt>
                <c:pt idx="94">
                  <c:v>-0.002184532040244158</c:v>
                </c:pt>
                <c:pt idx="95">
                  <c:v>0.0032289596034791312</c:v>
                </c:pt>
                <c:pt idx="96">
                  <c:v>0.0032289596034791312</c:v>
                </c:pt>
                <c:pt idx="97">
                  <c:v>0.0032289596034791312</c:v>
                </c:pt>
                <c:pt idx="98">
                  <c:v>-0.006773287130232508</c:v>
                </c:pt>
                <c:pt idx="99">
                  <c:v>-0.012143494507023789</c:v>
                </c:pt>
                <c:pt idx="100">
                  <c:v>0.0001316433370179837</c:v>
                </c:pt>
                <c:pt idx="101">
                  <c:v>-0.0046634126655055175</c:v>
                </c:pt>
                <c:pt idx="102">
                  <c:v>-0.014445034196906015</c:v>
                </c:pt>
                <c:pt idx="103">
                  <c:v>-0.014445034196906015</c:v>
                </c:pt>
                <c:pt idx="104">
                  <c:v>-0.014445034196906015</c:v>
                </c:pt>
                <c:pt idx="105">
                  <c:v>-0.023747259117215536</c:v>
                </c:pt>
                <c:pt idx="106">
                  <c:v>-0.007828068663794041</c:v>
                </c:pt>
                <c:pt idx="107">
                  <c:v>0.0014741562565154798</c:v>
                </c:pt>
                <c:pt idx="108">
                  <c:v>0.007899223016269108</c:v>
                </c:pt>
                <c:pt idx="109">
                  <c:v>0.007899223016269108</c:v>
                </c:pt>
                <c:pt idx="110">
                  <c:v>0.007899223016269108</c:v>
                </c:pt>
                <c:pt idx="111">
                  <c:v>0.007899223016269108</c:v>
                </c:pt>
                <c:pt idx="112">
                  <c:v>0.018927680553391335</c:v>
                </c:pt>
                <c:pt idx="113">
                  <c:v>0.01787274332102773</c:v>
                </c:pt>
                <c:pt idx="114">
                  <c:v>0.01796873163240731</c:v>
                </c:pt>
                <c:pt idx="115">
                  <c:v>0.016730926157196624</c:v>
                </c:pt>
                <c:pt idx="116">
                  <c:v>0.015099436261348131</c:v>
                </c:pt>
                <c:pt idx="117">
                  <c:v>0.015099436261348131</c:v>
                </c:pt>
                <c:pt idx="118">
                  <c:v>0.015099436261348131</c:v>
                </c:pt>
                <c:pt idx="119">
                  <c:v>0.02047338040938529</c:v>
                </c:pt>
                <c:pt idx="120">
                  <c:v>0.01960971915517229</c:v>
                </c:pt>
                <c:pt idx="121">
                  <c:v>0.0030080230035640643</c:v>
                </c:pt>
                <c:pt idx="122">
                  <c:v>0.0008970586472236697</c:v>
                </c:pt>
                <c:pt idx="123">
                  <c:v>0.0007050041750635838</c:v>
                </c:pt>
                <c:pt idx="124">
                  <c:v>0.0007050041750635838</c:v>
                </c:pt>
                <c:pt idx="125">
                  <c:v>0.0007050041750635838</c:v>
                </c:pt>
                <c:pt idx="126">
                  <c:v>-0.002173944521714044</c:v>
                </c:pt>
                <c:pt idx="127">
                  <c:v>0.0097255699627119</c:v>
                </c:pt>
                <c:pt idx="128">
                  <c:v>0.015867264902983624</c:v>
                </c:pt>
                <c:pt idx="129">
                  <c:v>0.0022404279101315705</c:v>
                </c:pt>
                <c:pt idx="130">
                  <c:v>0.002528314994869163</c:v>
                </c:pt>
                <c:pt idx="131">
                  <c:v>0.002528314994869163</c:v>
                </c:pt>
                <c:pt idx="132">
                  <c:v>0.002528314994869163</c:v>
                </c:pt>
                <c:pt idx="133">
                  <c:v>0.002528314994869163</c:v>
                </c:pt>
                <c:pt idx="134">
                  <c:v>-0.014841054099572593</c:v>
                </c:pt>
                <c:pt idx="135">
                  <c:v>-0.020790772417085157</c:v>
                </c:pt>
                <c:pt idx="136">
                  <c:v>-0.02846781324302372</c:v>
                </c:pt>
                <c:pt idx="137">
                  <c:v>-0.04497352108325248</c:v>
                </c:pt>
                <c:pt idx="138">
                  <c:v>-0.04497352108325248</c:v>
                </c:pt>
                <c:pt idx="139">
                  <c:v>-0.04497352108325248</c:v>
                </c:pt>
                <c:pt idx="140">
                  <c:v>-0.04650902266772128</c:v>
                </c:pt>
                <c:pt idx="141">
                  <c:v>-0.056105284775443964</c:v>
                </c:pt>
                <c:pt idx="142">
                  <c:v>-0.06080738859322532</c:v>
                </c:pt>
                <c:pt idx="143">
                  <c:v>-0.06560555857178718</c:v>
                </c:pt>
                <c:pt idx="144">
                  <c:v>-0.05063543016542815</c:v>
                </c:pt>
                <c:pt idx="145">
                  <c:v>-0.05063543016542815</c:v>
                </c:pt>
                <c:pt idx="146">
                  <c:v>-0.05063543016542815</c:v>
                </c:pt>
                <c:pt idx="147">
                  <c:v>-0.03105879700566272</c:v>
                </c:pt>
                <c:pt idx="148">
                  <c:v>-0.023573732802483205</c:v>
                </c:pt>
                <c:pt idx="149">
                  <c:v>-0.01733604955083201</c:v>
                </c:pt>
                <c:pt idx="150">
                  <c:v>-0.03614493191836299</c:v>
                </c:pt>
                <c:pt idx="151">
                  <c:v>-0.031826547797896954</c:v>
                </c:pt>
                <c:pt idx="152">
                  <c:v>-0.031826547797896954</c:v>
                </c:pt>
                <c:pt idx="153">
                  <c:v>-0.031826547797896954</c:v>
                </c:pt>
                <c:pt idx="154">
                  <c:v>-0.03374569123028015</c:v>
                </c:pt>
                <c:pt idx="155">
                  <c:v>-0.02626054917769971</c:v>
                </c:pt>
                <c:pt idx="156">
                  <c:v>-0.010906623224624434</c:v>
                </c:pt>
                <c:pt idx="157">
                  <c:v>-0.025205066999529402</c:v>
                </c:pt>
                <c:pt idx="158">
                  <c:v>-0.043725906583520824</c:v>
                </c:pt>
                <c:pt idx="159">
                  <c:v>-0.043725906583520824</c:v>
                </c:pt>
                <c:pt idx="160">
                  <c:v>-0.043725906583520824</c:v>
                </c:pt>
                <c:pt idx="161">
                  <c:v>-0.04727661776115344</c:v>
                </c:pt>
                <c:pt idx="162">
                  <c:v>-0.030579088996967485</c:v>
                </c:pt>
                <c:pt idx="163">
                  <c:v>-0.028371824931643697</c:v>
                </c:pt>
                <c:pt idx="164">
                  <c:v>-0.04718062944977375</c:v>
                </c:pt>
                <c:pt idx="165">
                  <c:v>-0.05428181825683598</c:v>
                </c:pt>
                <c:pt idx="166">
                  <c:v>-0.05428181825683598</c:v>
                </c:pt>
                <c:pt idx="167">
                  <c:v>-0.05428181825683598</c:v>
                </c:pt>
                <c:pt idx="168">
                  <c:v>-0.05428181825683598</c:v>
                </c:pt>
                <c:pt idx="169">
                  <c:v>-0.06522176102507038</c:v>
                </c:pt>
                <c:pt idx="170">
                  <c:v>-0.07846464477240422</c:v>
                </c:pt>
                <c:pt idx="171">
                  <c:v>-0.07462620220883587</c:v>
                </c:pt>
                <c:pt idx="172">
                  <c:v>-0.05409007518227971</c:v>
                </c:pt>
                <c:pt idx="173">
                  <c:v>-0.05409007518227971</c:v>
                </c:pt>
                <c:pt idx="174">
                  <c:v>-0.05409007518227971</c:v>
                </c:pt>
                <c:pt idx="175">
                  <c:v>-0.06071147813124622</c:v>
                </c:pt>
                <c:pt idx="176">
                  <c:v>-0.07664141180199968</c:v>
                </c:pt>
                <c:pt idx="177">
                  <c:v>-0.06339837235586399</c:v>
                </c:pt>
                <c:pt idx="178">
                  <c:v>-0.07289880185100905</c:v>
                </c:pt>
                <c:pt idx="179">
                  <c:v>-0.08662162715524058</c:v>
                </c:pt>
                <c:pt idx="180">
                  <c:v>-0.08662162715524058</c:v>
                </c:pt>
                <c:pt idx="181">
                  <c:v>-0.08662162715524058</c:v>
                </c:pt>
                <c:pt idx="182">
                  <c:v>-0.1150266159316925</c:v>
                </c:pt>
                <c:pt idx="183">
                  <c:v>-0.11608233165806559</c:v>
                </c:pt>
                <c:pt idx="184">
                  <c:v>-0.08930852137985834</c:v>
                </c:pt>
                <c:pt idx="185">
                  <c:v>-0.09650577634770108</c:v>
                </c:pt>
                <c:pt idx="186">
                  <c:v>-0.1089809871522015</c:v>
                </c:pt>
                <c:pt idx="187">
                  <c:v>-0.1089809871522015</c:v>
                </c:pt>
                <c:pt idx="188">
                  <c:v>-0.1089809871522015</c:v>
                </c:pt>
                <c:pt idx="189">
                  <c:v>-0.11473880669635594</c:v>
                </c:pt>
                <c:pt idx="190">
                  <c:v>-0.10092007093014566</c:v>
                </c:pt>
                <c:pt idx="191">
                  <c:v>-0.07049971686172829</c:v>
                </c:pt>
                <c:pt idx="192">
                  <c:v>-0.06099928736658322</c:v>
                </c:pt>
                <c:pt idx="193">
                  <c:v>-0.05063543016542793</c:v>
                </c:pt>
                <c:pt idx="194">
                  <c:v>-0.05063543016542793</c:v>
                </c:pt>
                <c:pt idx="195">
                  <c:v>-0.05063543016542793</c:v>
                </c:pt>
                <c:pt idx="196">
                  <c:v>-0.05399393117209861</c:v>
                </c:pt>
                <c:pt idx="197">
                  <c:v>-0.04257443609397138</c:v>
                </c:pt>
                <c:pt idx="198">
                  <c:v>-0.05332224654064477</c:v>
                </c:pt>
                <c:pt idx="199">
                  <c:v>-0.04238245947121222</c:v>
                </c:pt>
                <c:pt idx="200">
                  <c:v>-0.04055922650080768</c:v>
                </c:pt>
                <c:pt idx="201">
                  <c:v>-0.04055922650080768</c:v>
                </c:pt>
                <c:pt idx="202">
                  <c:v>-0.04055922650080768</c:v>
                </c:pt>
                <c:pt idx="203">
                  <c:v>-0.036816538700416124</c:v>
                </c:pt>
                <c:pt idx="204">
                  <c:v>-0.02136639088775838</c:v>
                </c:pt>
                <c:pt idx="205">
                  <c:v>-0.026836401196576043</c:v>
                </c:pt>
                <c:pt idx="206">
                  <c:v>-0.042478525631992725</c:v>
                </c:pt>
                <c:pt idx="207">
                  <c:v>-0.03624084238034164</c:v>
                </c:pt>
                <c:pt idx="208">
                  <c:v>-0.03624084238034164</c:v>
                </c:pt>
                <c:pt idx="209">
                  <c:v>-0.03624084238034164</c:v>
                </c:pt>
                <c:pt idx="210">
                  <c:v>-0.02693231165855481</c:v>
                </c:pt>
                <c:pt idx="211">
                  <c:v>-0.040847035736144566</c:v>
                </c:pt>
                <c:pt idx="212">
                  <c:v>-0.05188273326755555</c:v>
                </c:pt>
                <c:pt idx="213">
                  <c:v>-0.04986760152379288</c:v>
                </c:pt>
                <c:pt idx="214">
                  <c:v>-0.05073134062740681</c:v>
                </c:pt>
                <c:pt idx="215">
                  <c:v>-0.05073134062740681</c:v>
                </c:pt>
                <c:pt idx="216">
                  <c:v>-0.05073134062740681</c:v>
                </c:pt>
                <c:pt idx="217">
                  <c:v>-0.06426203361007732</c:v>
                </c:pt>
                <c:pt idx="218">
                  <c:v>-0.06944407898475635</c:v>
                </c:pt>
                <c:pt idx="219">
                  <c:v>-0.058216326981185285</c:v>
                </c:pt>
                <c:pt idx="220">
                  <c:v>-0.06810078757124949</c:v>
                </c:pt>
                <c:pt idx="221">
                  <c:v>-0.06810078757124949</c:v>
                </c:pt>
                <c:pt idx="222">
                  <c:v>-0.06810078757124949</c:v>
                </c:pt>
                <c:pt idx="223">
                  <c:v>-0.06810078757124949</c:v>
                </c:pt>
                <c:pt idx="224">
                  <c:v>-0.06963613345691644</c:v>
                </c:pt>
                <c:pt idx="225">
                  <c:v>-0.059751828565654086</c:v>
                </c:pt>
                <c:pt idx="226">
                  <c:v>-0.058888167311441086</c:v>
                </c:pt>
                <c:pt idx="227">
                  <c:v>-0.07347442032168283</c:v>
                </c:pt>
                <c:pt idx="228">
                  <c:v>-0.09429866798117947</c:v>
                </c:pt>
                <c:pt idx="229">
                  <c:v>-0.09429866798117947</c:v>
                </c:pt>
                <c:pt idx="230">
                  <c:v>-0.09429866798117947</c:v>
                </c:pt>
                <c:pt idx="231">
                  <c:v>-0.09285915470809003</c:v>
                </c:pt>
                <c:pt idx="232">
                  <c:v>-0.11790556462847035</c:v>
                </c:pt>
                <c:pt idx="233">
                  <c:v>-0.11454698577239886</c:v>
                </c:pt>
                <c:pt idx="234">
                  <c:v>-0.09602591264020455</c:v>
                </c:pt>
                <c:pt idx="235">
                  <c:v>-0.11972895329767708</c:v>
                </c:pt>
                <c:pt idx="236">
                  <c:v>-0.11972895329767708</c:v>
                </c:pt>
                <c:pt idx="237">
                  <c:v>-0.11972895329767708</c:v>
                </c:pt>
                <c:pt idx="238">
                  <c:v>-0.11684992675149852</c:v>
                </c:pt>
                <c:pt idx="239">
                  <c:v>-0.11147606045286229</c:v>
                </c:pt>
                <c:pt idx="240">
                  <c:v>-0.09055605803018885</c:v>
                </c:pt>
                <c:pt idx="241">
                  <c:v>-0.1215521084186807</c:v>
                </c:pt>
                <c:pt idx="242">
                  <c:v>-0.13028486497099234</c:v>
                </c:pt>
                <c:pt idx="243">
                  <c:v>-0.13028486497099234</c:v>
                </c:pt>
                <c:pt idx="244">
                  <c:v>-0.13028486497099234</c:v>
                </c:pt>
                <c:pt idx="245">
                  <c:v>-0.15782634819203312</c:v>
                </c:pt>
                <c:pt idx="246">
                  <c:v>-0.15485148903327695</c:v>
                </c:pt>
                <c:pt idx="247">
                  <c:v>-0.1654074007065922</c:v>
                </c:pt>
                <c:pt idx="248">
                  <c:v>-0.16655902689494384</c:v>
                </c:pt>
                <c:pt idx="249">
                  <c:v>-0.14458338659529835</c:v>
                </c:pt>
                <c:pt idx="250">
                  <c:v>-0.14458338659529835</c:v>
                </c:pt>
                <c:pt idx="251">
                  <c:v>-0.14458338659529835</c:v>
                </c:pt>
                <c:pt idx="252">
                  <c:v>-0.14736642483009743</c:v>
                </c:pt>
                <c:pt idx="253">
                  <c:v>-0.1300928883482334</c:v>
                </c:pt>
                <c:pt idx="254">
                  <c:v>-0.15916971745494113</c:v>
                </c:pt>
                <c:pt idx="255">
                  <c:v>-0.15840212236150863</c:v>
                </c:pt>
                <c:pt idx="256">
                  <c:v>-0.15600303737222765</c:v>
                </c:pt>
                <c:pt idx="257">
                  <c:v>-0.15600303737222765</c:v>
                </c:pt>
                <c:pt idx="258">
                  <c:v>-0.15600303737222765</c:v>
                </c:pt>
                <c:pt idx="259">
                  <c:v>-0.1423762003793756</c:v>
                </c:pt>
                <c:pt idx="260">
                  <c:v>-0.14947754488523968</c:v>
                </c:pt>
                <c:pt idx="261">
                  <c:v>-0.14362373702970577</c:v>
                </c:pt>
                <c:pt idx="262">
                  <c:v>-0.129517114178758</c:v>
                </c:pt>
                <c:pt idx="263">
                  <c:v>-0.11176402538700092</c:v>
                </c:pt>
                <c:pt idx="264">
                  <c:v>-0.11176402538700092</c:v>
                </c:pt>
                <c:pt idx="265">
                  <c:v>-0.11176402538700092</c:v>
                </c:pt>
                <c:pt idx="266">
                  <c:v>-0.11176402538700092</c:v>
                </c:pt>
                <c:pt idx="267">
                  <c:v>-0.1157943667239274</c:v>
                </c:pt>
                <c:pt idx="268">
                  <c:v>-0.12231993706031619</c:v>
                </c:pt>
                <c:pt idx="269">
                  <c:v>-0.10466260303173591</c:v>
                </c:pt>
                <c:pt idx="270">
                  <c:v>-0.11953697667491814</c:v>
                </c:pt>
                <c:pt idx="271">
                  <c:v>-0.11953697667491814</c:v>
                </c:pt>
                <c:pt idx="272">
                  <c:v>-0.11953697667491814</c:v>
                </c:pt>
                <c:pt idx="273">
                  <c:v>-0.11637021874280373</c:v>
                </c:pt>
                <c:pt idx="274">
                  <c:v>-0.10965267178365579</c:v>
                </c:pt>
                <c:pt idx="275">
                  <c:v>-0.11800155293985015</c:v>
                </c:pt>
                <c:pt idx="276">
                  <c:v>-0.13856399306392964</c:v>
                </c:pt>
                <c:pt idx="277">
                  <c:v>-0.16093775520006737</c:v>
                </c:pt>
                <c:pt idx="278">
                  <c:v>-0.16093775520006737</c:v>
                </c:pt>
                <c:pt idx="279">
                  <c:v>-0.16093775520006737</c:v>
                </c:pt>
                <c:pt idx="280">
                  <c:v>-0.19202854830952343</c:v>
                </c:pt>
                <c:pt idx="281">
                  <c:v>-0.19444989822747794</c:v>
                </c:pt>
                <c:pt idx="282">
                  <c:v>-0.18214914793052128</c:v>
                </c:pt>
                <c:pt idx="283">
                  <c:v>-0.20607258024210195</c:v>
                </c:pt>
                <c:pt idx="284">
                  <c:v>-0.20646003671066315</c:v>
                </c:pt>
                <c:pt idx="285">
                  <c:v>-0.20646003671066315</c:v>
                </c:pt>
                <c:pt idx="286">
                  <c:v>-0.20646003671066315</c:v>
                </c:pt>
                <c:pt idx="287">
                  <c:v>-0.20646003671066315</c:v>
                </c:pt>
                <c:pt idx="288">
                  <c:v>-0.18873544079965632</c:v>
                </c:pt>
                <c:pt idx="289">
                  <c:v>-0.19338445132598514</c:v>
                </c:pt>
                <c:pt idx="290">
                  <c:v>-0.18873544079965632</c:v>
                </c:pt>
                <c:pt idx="291">
                  <c:v>-0.16403717340035417</c:v>
                </c:pt>
                <c:pt idx="292">
                  <c:v>-0.16403717340035417</c:v>
                </c:pt>
                <c:pt idx="293">
                  <c:v>-0.16403717340035417</c:v>
                </c:pt>
                <c:pt idx="294">
                  <c:v>-0.16645852331830868</c:v>
                </c:pt>
                <c:pt idx="295">
                  <c:v>-0.1787591957658643</c:v>
                </c:pt>
                <c:pt idx="296">
                  <c:v>-0.18098685637423872</c:v>
                </c:pt>
                <c:pt idx="297">
                  <c:v>-0.18747622673918263</c:v>
                </c:pt>
                <c:pt idx="298">
                  <c:v>-0.1817616914619602</c:v>
                </c:pt>
                <c:pt idx="299">
                  <c:v>-0.1817616914619602</c:v>
                </c:pt>
                <c:pt idx="300">
                  <c:v>-0.1817616914619602</c:v>
                </c:pt>
                <c:pt idx="301">
                  <c:v>-0.1817616914619602</c:v>
                </c:pt>
                <c:pt idx="302">
                  <c:v>-0.1859265565637397</c:v>
                </c:pt>
                <c:pt idx="303">
                  <c:v>-0.18476434285685794</c:v>
                </c:pt>
                <c:pt idx="304">
                  <c:v>-0.17178567997637106</c:v>
                </c:pt>
                <c:pt idx="305">
                  <c:v>-0.17236690360391338</c:v>
                </c:pt>
                <c:pt idx="306">
                  <c:v>-0.17236690360391338</c:v>
                </c:pt>
                <c:pt idx="307">
                  <c:v>-0.17236690360391338</c:v>
                </c:pt>
                <c:pt idx="308">
                  <c:v>-0.18408627457452575</c:v>
                </c:pt>
                <c:pt idx="309">
                  <c:v>-0.1891228194188168</c:v>
                </c:pt>
                <c:pt idx="310">
                  <c:v>-0.1924159269286838</c:v>
                </c:pt>
                <c:pt idx="311">
                  <c:v>-0.19793669504692524</c:v>
                </c:pt>
                <c:pt idx="312">
                  <c:v>-0.18427996388410584</c:v>
                </c:pt>
                <c:pt idx="313">
                  <c:v>-0.18427996388410584</c:v>
                </c:pt>
                <c:pt idx="314">
                  <c:v>-0.18427996388410584</c:v>
                </c:pt>
                <c:pt idx="315">
                  <c:v>-0.1865077023418812</c:v>
                </c:pt>
                <c:pt idx="316">
                  <c:v>-0.16587745538956855</c:v>
                </c:pt>
                <c:pt idx="317">
                  <c:v>-0.163262260463232</c:v>
                </c:pt>
                <c:pt idx="318">
                  <c:v>-0.15473907449829571</c:v>
                </c:pt>
                <c:pt idx="319">
                  <c:v>-0.16190627959736914</c:v>
                </c:pt>
                <c:pt idx="320">
                  <c:v>-0.16190627959736914</c:v>
                </c:pt>
                <c:pt idx="321">
                  <c:v>-0.16190627959736914</c:v>
                </c:pt>
                <c:pt idx="322">
                  <c:v>-0.15929116252043352</c:v>
                </c:pt>
                <c:pt idx="323">
                  <c:v>-0.1694610190144048</c:v>
                </c:pt>
                <c:pt idx="324">
                  <c:v>-0.14912130602646223</c:v>
                </c:pt>
                <c:pt idx="325">
                  <c:v>-0.14098542083128518</c:v>
                </c:pt>
                <c:pt idx="326">
                  <c:v>-0.13004072924959242</c:v>
                </c:pt>
                <c:pt idx="327">
                  <c:v>-0.13004072924959242</c:v>
                </c:pt>
                <c:pt idx="328">
                  <c:v>-0.13004072924959242</c:v>
                </c:pt>
                <c:pt idx="329">
                  <c:v>-0.13284961348550905</c:v>
                </c:pt>
                <c:pt idx="330">
                  <c:v>-0.13962943996542232</c:v>
                </c:pt>
                <c:pt idx="331">
                  <c:v>-0.12858782587953843</c:v>
                </c:pt>
                <c:pt idx="332">
                  <c:v>-0.12723200071247753</c:v>
                </c:pt>
                <c:pt idx="333">
                  <c:v>-0.12994388459480233</c:v>
                </c:pt>
                <c:pt idx="334">
                  <c:v>-0.12994388459480233</c:v>
                </c:pt>
                <c:pt idx="335">
                  <c:v>-0.12994388459480233</c:v>
                </c:pt>
                <c:pt idx="336">
                  <c:v>-0.12955650597564206</c:v>
                </c:pt>
                <c:pt idx="337">
                  <c:v>-0.1337212153786197</c:v>
                </c:pt>
                <c:pt idx="338">
                  <c:v>-0.11560924084845248</c:v>
                </c:pt>
                <c:pt idx="339">
                  <c:v>-0.114834405760731</c:v>
                </c:pt>
                <c:pt idx="340">
                  <c:v>-0.10263050011856445</c:v>
                </c:pt>
                <c:pt idx="341">
                  <c:v>-0.10263050011856445</c:v>
                </c:pt>
                <c:pt idx="342">
                  <c:v>-0.10263050011856445</c:v>
                </c:pt>
                <c:pt idx="343">
                  <c:v>-0.10282418942814453</c:v>
                </c:pt>
                <c:pt idx="344">
                  <c:v>-0.10214627684461408</c:v>
                </c:pt>
                <c:pt idx="345">
                  <c:v>-0.1086356472095581</c:v>
                </c:pt>
                <c:pt idx="346">
                  <c:v>-0.10892610332452735</c:v>
                </c:pt>
                <c:pt idx="347">
                  <c:v>-0.12083947500232362</c:v>
                </c:pt>
                <c:pt idx="348">
                  <c:v>-0.12083947500232362</c:v>
                </c:pt>
                <c:pt idx="349">
                  <c:v>-0.12083947500232362</c:v>
                </c:pt>
                <c:pt idx="350">
                  <c:v>-0.13740185720644882</c:v>
                </c:pt>
                <c:pt idx="351">
                  <c:v>-0.13749862401183788</c:v>
                </c:pt>
                <c:pt idx="352">
                  <c:v>-0.13527088555406264</c:v>
                </c:pt>
                <c:pt idx="353">
                  <c:v>-0.12248598983255665</c:v>
                </c:pt>
                <c:pt idx="354">
                  <c:v>-0.14863716060191268</c:v>
                </c:pt>
                <c:pt idx="355">
                  <c:v>-0.14863716060191268</c:v>
                </c:pt>
                <c:pt idx="356">
                  <c:v>-0.14863716060191268</c:v>
                </c:pt>
                <c:pt idx="357">
                  <c:v>-0.15386723905698196</c:v>
                </c:pt>
                <c:pt idx="358">
                  <c:v>-0.1625842700303004</c:v>
                </c:pt>
                <c:pt idx="359">
                  <c:v>-0.16800827134315277</c:v>
                </c:pt>
                <c:pt idx="360">
                  <c:v>-0.170042242641947</c:v>
                </c:pt>
                <c:pt idx="361">
                  <c:v>-0.1772096034398224</c:v>
                </c:pt>
                <c:pt idx="362">
                  <c:v>-0.1772096034398224</c:v>
                </c:pt>
                <c:pt idx="363">
                  <c:v>-0.1772096034398224</c:v>
                </c:pt>
                <c:pt idx="364">
                  <c:v>-0.1772096034398224</c:v>
                </c:pt>
                <c:pt idx="365">
                  <c:v>-0.1817616914619602</c:v>
                </c:pt>
                <c:pt idx="366">
                  <c:v>-0.16955801936799653</c:v>
                </c:pt>
                <c:pt idx="367">
                  <c:v>-0.16568376607998803</c:v>
                </c:pt>
                <c:pt idx="368">
                  <c:v>-0.15028359758274457</c:v>
                </c:pt>
                <c:pt idx="369">
                  <c:v>-0.15028359758274457</c:v>
                </c:pt>
                <c:pt idx="370">
                  <c:v>-0.15028359758274457</c:v>
                </c:pt>
                <c:pt idx="371">
                  <c:v>-0.1398232071244031</c:v>
                </c:pt>
                <c:pt idx="372">
                  <c:v>-0.17381957342576404</c:v>
                </c:pt>
                <c:pt idx="373">
                  <c:v>-0.170526388066496</c:v>
                </c:pt>
                <c:pt idx="374">
                  <c:v>-0.17914665223442527</c:v>
                </c:pt>
                <c:pt idx="375">
                  <c:v>-0.18650770234188074</c:v>
                </c:pt>
                <c:pt idx="376">
                  <c:v>-0.18650770234188074</c:v>
                </c:pt>
                <c:pt idx="377">
                  <c:v>-0.18650770234188074</c:v>
                </c:pt>
                <c:pt idx="378">
                  <c:v>-0.1811806235332194</c:v>
                </c:pt>
                <c:pt idx="379">
                  <c:v>-0.1912536353724006</c:v>
                </c:pt>
                <c:pt idx="380">
                  <c:v>-0.20452283221725787</c:v>
                </c:pt>
                <c:pt idx="381">
                  <c:v>-0.21043113465346142</c:v>
                </c:pt>
                <c:pt idx="382">
                  <c:v>-0.22699351685758662</c:v>
                </c:pt>
                <c:pt idx="383">
                  <c:v>-0.22699351685758662</c:v>
                </c:pt>
                <c:pt idx="384">
                  <c:v>-0.22699351685758662</c:v>
                </c:pt>
                <c:pt idx="385">
                  <c:v>-0.23619477110485532</c:v>
                </c:pt>
                <c:pt idx="386">
                  <c:v>-0.23871296567759992</c:v>
                </c:pt>
                <c:pt idx="387">
                  <c:v>-0.22311926356957823</c:v>
                </c:pt>
                <c:pt idx="388">
                  <c:v>-0.23774459697910022</c:v>
                </c:pt>
                <c:pt idx="389">
                  <c:v>-0.24617101613864745</c:v>
                </c:pt>
                <c:pt idx="390">
                  <c:v>-0.24617101613864745</c:v>
                </c:pt>
                <c:pt idx="391">
                  <c:v>-0.24617101613864745</c:v>
                </c:pt>
                <c:pt idx="392">
                  <c:v>-0.22825249736985753</c:v>
                </c:pt>
                <c:pt idx="393">
                  <c:v>-0.20190771514032224</c:v>
                </c:pt>
                <c:pt idx="394">
                  <c:v>-0.20549143446396045</c:v>
                </c:pt>
                <c:pt idx="395">
                  <c:v>-0.2146927665606302</c:v>
                </c:pt>
                <c:pt idx="396">
                  <c:v>-0.23464502308001145</c:v>
                </c:pt>
                <c:pt idx="397">
                  <c:v>-0.23464502308001145</c:v>
                </c:pt>
                <c:pt idx="398">
                  <c:v>-0.23464502308001145</c:v>
                </c:pt>
                <c:pt idx="399">
                  <c:v>-0.24074693697639427</c:v>
                </c:pt>
                <c:pt idx="400">
                  <c:v>-0.24713938483714726</c:v>
                </c:pt>
                <c:pt idx="401">
                  <c:v>-0.24917343398534242</c:v>
                </c:pt>
                <c:pt idx="402">
                  <c:v>-0.23222367316205694</c:v>
                </c:pt>
                <c:pt idx="403">
                  <c:v>-0.24849552140181197</c:v>
                </c:pt>
                <c:pt idx="404">
                  <c:v>-0.24849552140181197</c:v>
                </c:pt>
                <c:pt idx="405">
                  <c:v>-0.24849552140181197</c:v>
                </c:pt>
                <c:pt idx="406">
                  <c:v>-0.22902741030698004</c:v>
                </c:pt>
                <c:pt idx="407">
                  <c:v>-0.22176320485431456</c:v>
                </c:pt>
                <c:pt idx="408">
                  <c:v>-0.22970547858931245</c:v>
                </c:pt>
                <c:pt idx="409">
                  <c:v>-0.2333858868689388</c:v>
                </c:pt>
                <c:pt idx="410">
                  <c:v>-0.2171141164785848</c:v>
                </c:pt>
                <c:pt idx="411">
                  <c:v>-0.2171141164785848</c:v>
                </c:pt>
                <c:pt idx="412">
                  <c:v>-0.2171141164785848</c:v>
                </c:pt>
                <c:pt idx="413">
                  <c:v>-0.2147896890648212</c:v>
                </c:pt>
                <c:pt idx="414">
                  <c:v>-0.2009391907430208</c:v>
                </c:pt>
                <c:pt idx="415">
                  <c:v>-0.2008423460882307</c:v>
                </c:pt>
                <c:pt idx="416">
                  <c:v>-0.20568520162294168</c:v>
                </c:pt>
                <c:pt idx="417">
                  <c:v>-0.19299707270682476</c:v>
                </c:pt>
                <c:pt idx="418">
                  <c:v>-0.19299707270682476</c:v>
                </c:pt>
                <c:pt idx="419">
                  <c:v>-0.19299707270682476</c:v>
                </c:pt>
                <c:pt idx="420">
                  <c:v>-0.198324151515486</c:v>
                </c:pt>
                <c:pt idx="421">
                  <c:v>-0.19754931642776452</c:v>
                </c:pt>
                <c:pt idx="422">
                  <c:v>-0.21401485397709963</c:v>
                </c:pt>
                <c:pt idx="423">
                  <c:v>-0.22089160296120391</c:v>
                </c:pt>
                <c:pt idx="424">
                  <c:v>-0.20258570557325373</c:v>
                </c:pt>
                <c:pt idx="425">
                  <c:v>-0.20258570557325373</c:v>
                </c:pt>
                <c:pt idx="426">
                  <c:v>-0.20258570557325373</c:v>
                </c:pt>
                <c:pt idx="427">
                  <c:v>-0.19754931642776452</c:v>
                </c:pt>
                <c:pt idx="428">
                  <c:v>-0.19193154795593115</c:v>
                </c:pt>
                <c:pt idx="429">
                  <c:v>-0.20684741532982331</c:v>
                </c:pt>
                <c:pt idx="430">
                  <c:v>-0.16432770736472413</c:v>
                </c:pt>
                <c:pt idx="431">
                  <c:v>-0.15163957844860732</c:v>
                </c:pt>
                <c:pt idx="432">
                  <c:v>-0.15163957844860732</c:v>
                </c:pt>
                <c:pt idx="433">
                  <c:v>-0.15163957844860732</c:v>
                </c:pt>
                <c:pt idx="434">
                  <c:v>-0.15929116252043296</c:v>
                </c:pt>
                <c:pt idx="435">
                  <c:v>-0.1511552773252559</c:v>
                </c:pt>
                <c:pt idx="436">
                  <c:v>-0.1575477251860089</c:v>
                </c:pt>
                <c:pt idx="437">
                  <c:v>-0.1595818521836051</c:v>
                </c:pt>
                <c:pt idx="438">
                  <c:v>-0.1579351816545701</c:v>
                </c:pt>
                <c:pt idx="439">
                  <c:v>-0.1579351816545701</c:v>
                </c:pt>
                <c:pt idx="440">
                  <c:v>-0.1579351816545701</c:v>
                </c:pt>
                <c:pt idx="441">
                  <c:v>-0.16258427003029996</c:v>
                </c:pt>
                <c:pt idx="442">
                  <c:v>-0.1521238795719585</c:v>
                </c:pt>
                <c:pt idx="443">
                  <c:v>-0.1455376645522245</c:v>
                </c:pt>
                <c:pt idx="444">
                  <c:v>-0.1455376645522245</c:v>
                </c:pt>
                <c:pt idx="445">
                  <c:v>-0.1448595962698921</c:v>
                </c:pt>
                <c:pt idx="446">
                  <c:v>-0.1448595962698921</c:v>
                </c:pt>
                <c:pt idx="447">
                  <c:v>-0.1448595962698921</c:v>
                </c:pt>
                <c:pt idx="448">
                  <c:v>-0.15725719122163873</c:v>
                </c:pt>
                <c:pt idx="449">
                  <c:v>-0.15551375388721456</c:v>
                </c:pt>
                <c:pt idx="450">
                  <c:v>-0.13149363261964575</c:v>
                </c:pt>
                <c:pt idx="451">
                  <c:v>-0.13023441855917206</c:v>
                </c:pt>
                <c:pt idx="452">
                  <c:v>-0.13100933149629446</c:v>
                </c:pt>
                <c:pt idx="453">
                  <c:v>-0.13100933149629446</c:v>
                </c:pt>
                <c:pt idx="454">
                  <c:v>-0.13100933149629446</c:v>
                </c:pt>
                <c:pt idx="455">
                  <c:v>-0.1458282763659956</c:v>
                </c:pt>
                <c:pt idx="456">
                  <c:v>-0.1549326859584742</c:v>
                </c:pt>
                <c:pt idx="457">
                  <c:v>-0.15648235613391714</c:v>
                </c:pt>
                <c:pt idx="458">
                  <c:v>-0.14999306361837406</c:v>
                </c:pt>
                <c:pt idx="459">
                  <c:v>-0.15406100621596253</c:v>
                </c:pt>
                <c:pt idx="460">
                  <c:v>-0.15406100621596253</c:v>
                </c:pt>
                <c:pt idx="461">
                  <c:v>-0.15406100621596253</c:v>
                </c:pt>
                <c:pt idx="462">
                  <c:v>-0.14650626679892687</c:v>
                </c:pt>
                <c:pt idx="463">
                  <c:v>-0.13863919558525306</c:v>
                </c:pt>
                <c:pt idx="464">
                  <c:v>-0.1419578376986338</c:v>
                </c:pt>
                <c:pt idx="465">
                  <c:v>-0.16304054536930657</c:v>
                </c:pt>
                <c:pt idx="466">
                  <c:v>-0.17114163188225595</c:v>
                </c:pt>
                <c:pt idx="467">
                  <c:v>-0.17114163188225595</c:v>
                </c:pt>
                <c:pt idx="468">
                  <c:v>-0.17114163188225595</c:v>
                </c:pt>
                <c:pt idx="469">
                  <c:v>-0.17621702357762437</c:v>
                </c:pt>
                <c:pt idx="470">
                  <c:v>-0.17436272869623803</c:v>
                </c:pt>
                <c:pt idx="471">
                  <c:v>-0.16352858326390363</c:v>
                </c:pt>
                <c:pt idx="472">
                  <c:v>-0.17358174350584088</c:v>
                </c:pt>
                <c:pt idx="473">
                  <c:v>-0.16977521919666483</c:v>
                </c:pt>
                <c:pt idx="474">
                  <c:v>-0.16977521919666483</c:v>
                </c:pt>
                <c:pt idx="475">
                  <c:v>-0.16977521919666483</c:v>
                </c:pt>
                <c:pt idx="476">
                  <c:v>-0.16977521919666483</c:v>
                </c:pt>
                <c:pt idx="477">
                  <c:v>-0.17006801079366274</c:v>
                </c:pt>
                <c:pt idx="478">
                  <c:v>-0.18080453307719746</c:v>
                </c:pt>
                <c:pt idx="479">
                  <c:v>-0.16655412238268263</c:v>
                </c:pt>
                <c:pt idx="480">
                  <c:v>-0.17153212447745425</c:v>
                </c:pt>
                <c:pt idx="481">
                  <c:v>-0.17153212447745425</c:v>
                </c:pt>
                <c:pt idx="482">
                  <c:v>-0.17153212447745425</c:v>
                </c:pt>
                <c:pt idx="483">
                  <c:v>-0.17153212447745425</c:v>
                </c:pt>
                <c:pt idx="484">
                  <c:v>-0.17133672248105303</c:v>
                </c:pt>
                <c:pt idx="485">
                  <c:v>-0.16079560219391953</c:v>
                </c:pt>
                <c:pt idx="486">
                  <c:v>-0.16938480445086712</c:v>
                </c:pt>
                <c:pt idx="487">
                  <c:v>-0.15015662520978346</c:v>
                </c:pt>
                <c:pt idx="488">
                  <c:v>-0.15015662520978346</c:v>
                </c:pt>
                <c:pt idx="489">
                  <c:v>-0.15015662520978346</c:v>
                </c:pt>
                <c:pt idx="490">
                  <c:v>-0.14830209678019424</c:v>
                </c:pt>
                <c:pt idx="491">
                  <c:v>-0.14351949668182373</c:v>
                </c:pt>
                <c:pt idx="492">
                  <c:v>-0.13453995752847958</c:v>
                </c:pt>
                <c:pt idx="493">
                  <c:v>-0.1284884121945158</c:v>
                </c:pt>
                <c:pt idx="494">
                  <c:v>-0.12458418688713913</c:v>
                </c:pt>
                <c:pt idx="495">
                  <c:v>-0.12458418688713913</c:v>
                </c:pt>
                <c:pt idx="496">
                  <c:v>-0.12458418688713913</c:v>
                </c:pt>
                <c:pt idx="497">
                  <c:v>-0.12458418688713913</c:v>
                </c:pt>
                <c:pt idx="498">
                  <c:v>-0.1251699257799369</c:v>
                </c:pt>
                <c:pt idx="499">
                  <c:v>-0.134735048127277</c:v>
                </c:pt>
                <c:pt idx="500">
                  <c:v>-0.13815123554005648</c:v>
                </c:pt>
                <c:pt idx="501">
                  <c:v>-0.12477951103413942</c:v>
                </c:pt>
                <c:pt idx="502">
                  <c:v>-0.12477951103413942</c:v>
                </c:pt>
                <c:pt idx="503">
                  <c:v>-0.12477951103413942</c:v>
                </c:pt>
                <c:pt idx="504">
                  <c:v>-0.11706868356818556</c:v>
                </c:pt>
                <c:pt idx="505">
                  <c:v>-0.11824000565497916</c:v>
                </c:pt>
                <c:pt idx="506">
                  <c:v>-0.11619023092779068</c:v>
                </c:pt>
                <c:pt idx="507">
                  <c:v>-0.10867472760883712</c:v>
                </c:pt>
                <c:pt idx="508">
                  <c:v>-0.1081865340154381</c:v>
                </c:pt>
                <c:pt idx="509">
                  <c:v>-0.1081865340154381</c:v>
                </c:pt>
                <c:pt idx="510">
                  <c:v>-0.1081865340154381</c:v>
                </c:pt>
                <c:pt idx="511">
                  <c:v>-0.11892313414837374</c:v>
                </c:pt>
                <c:pt idx="512">
                  <c:v>-0.10935785610223181</c:v>
                </c:pt>
                <c:pt idx="513">
                  <c:v>-0.10028061595068694</c:v>
                </c:pt>
                <c:pt idx="514">
                  <c:v>-0.09296043677873367</c:v>
                </c:pt>
                <c:pt idx="515">
                  <c:v>-0.10340408961586944</c:v>
                </c:pt>
                <c:pt idx="516">
                  <c:v>-0.10340408961586944</c:v>
                </c:pt>
                <c:pt idx="517">
                  <c:v>-0.10340408961586944</c:v>
                </c:pt>
                <c:pt idx="518">
                  <c:v>-0.11082196978602343</c:v>
                </c:pt>
                <c:pt idx="519">
                  <c:v>-0.101354392738082</c:v>
                </c:pt>
                <c:pt idx="520">
                  <c:v>-0.10906514235463471</c:v>
                </c:pt>
                <c:pt idx="521">
                  <c:v>-0.11296928981261045</c:v>
                </c:pt>
                <c:pt idx="522">
                  <c:v>-0.11375011930420553</c:v>
                </c:pt>
                <c:pt idx="523">
                  <c:v>-0.11375011930420553</c:v>
                </c:pt>
                <c:pt idx="524">
                  <c:v>-0.11375011930420553</c:v>
                </c:pt>
                <c:pt idx="525">
                  <c:v>-0.10438000970626182</c:v>
                </c:pt>
                <c:pt idx="526">
                  <c:v>-0.10389204966106569</c:v>
                </c:pt>
                <c:pt idx="527">
                  <c:v>-0.10330638861766872</c:v>
                </c:pt>
                <c:pt idx="528">
                  <c:v>-0.11238362876921348</c:v>
                </c:pt>
                <c:pt idx="529">
                  <c:v>-0.1146285719446003</c:v>
                </c:pt>
                <c:pt idx="530">
                  <c:v>-0.1146285719446003</c:v>
                </c:pt>
                <c:pt idx="531">
                  <c:v>-0.1146285719446003</c:v>
                </c:pt>
                <c:pt idx="532">
                  <c:v>-0.1146285719446003</c:v>
                </c:pt>
                <c:pt idx="533">
                  <c:v>-0.12975712388190608</c:v>
                </c:pt>
                <c:pt idx="534">
                  <c:v>-0.1320997680554934</c:v>
                </c:pt>
                <c:pt idx="535">
                  <c:v>-0.12790282900051975</c:v>
                </c:pt>
                <c:pt idx="536">
                  <c:v>-0.13951764822564727</c:v>
                </c:pt>
                <c:pt idx="537">
                  <c:v>-0.13951764822564727</c:v>
                </c:pt>
                <c:pt idx="538">
                  <c:v>-0.13951764822564727</c:v>
                </c:pt>
                <c:pt idx="539">
                  <c:v>-0.13444233437967978</c:v>
                </c:pt>
                <c:pt idx="540">
                  <c:v>-0.13893214288105238</c:v>
                </c:pt>
                <c:pt idx="541">
                  <c:v>-0.13707753660206223</c:v>
                </c:pt>
                <c:pt idx="542">
                  <c:v>-0.13239255965249142</c:v>
                </c:pt>
                <c:pt idx="543">
                  <c:v>-0.11931354889417123</c:v>
                </c:pt>
                <c:pt idx="544">
                  <c:v>-0.11931354889417123</c:v>
                </c:pt>
                <c:pt idx="545">
                  <c:v>-0.11931354889417123</c:v>
                </c:pt>
                <c:pt idx="546">
                  <c:v>-0.11989928778696901</c:v>
                </c:pt>
                <c:pt idx="547">
                  <c:v>-0.13375897233808243</c:v>
                </c:pt>
                <c:pt idx="548">
                  <c:v>-0.13190452175789424</c:v>
                </c:pt>
                <c:pt idx="549">
                  <c:v>-0.14586206300601012</c:v>
                </c:pt>
                <c:pt idx="550">
                  <c:v>-0.15708662318414202</c:v>
                </c:pt>
                <c:pt idx="551">
                  <c:v>-0.15708662318414202</c:v>
                </c:pt>
                <c:pt idx="552">
                  <c:v>-0.15708662318414202</c:v>
                </c:pt>
                <c:pt idx="553">
                  <c:v>-0.1592338653613281</c:v>
                </c:pt>
                <c:pt idx="554">
                  <c:v>-0.14761889043739862</c:v>
                </c:pt>
                <c:pt idx="555">
                  <c:v>-0.1594291895083283</c:v>
                </c:pt>
                <c:pt idx="556">
                  <c:v>-0.14576443985721044</c:v>
                </c:pt>
                <c:pt idx="557">
                  <c:v>-0.15503692630635446</c:v>
                </c:pt>
                <c:pt idx="558">
                  <c:v>-0.15503692630635446</c:v>
                </c:pt>
                <c:pt idx="559">
                  <c:v>-0.15503692630635446</c:v>
                </c:pt>
                <c:pt idx="560">
                  <c:v>-0.1468379830964026</c:v>
                </c:pt>
                <c:pt idx="561">
                  <c:v>-0.135515955468273</c:v>
                </c:pt>
                <c:pt idx="562">
                  <c:v>-0.1447883640680161</c:v>
                </c:pt>
                <c:pt idx="563">
                  <c:v>-0.14254349874203032</c:v>
                </c:pt>
                <c:pt idx="564">
                  <c:v>-0.14049380186424287</c:v>
                </c:pt>
                <c:pt idx="565">
                  <c:v>-0.14049380186424287</c:v>
                </c:pt>
                <c:pt idx="566">
                  <c:v>-0.14049380186424287</c:v>
                </c:pt>
                <c:pt idx="567">
                  <c:v>-0.13746795134786005</c:v>
                </c:pt>
                <c:pt idx="568">
                  <c:v>-0.13668727755506693</c:v>
                </c:pt>
                <c:pt idx="569">
                  <c:v>-0.12614584587032962</c:v>
                </c:pt>
                <c:pt idx="570">
                  <c:v>-0.11902067944777261</c:v>
                </c:pt>
                <c:pt idx="571">
                  <c:v>-0.11023630874262669</c:v>
                </c:pt>
                <c:pt idx="572">
                  <c:v>-0.11023630874262669</c:v>
                </c:pt>
                <c:pt idx="573">
                  <c:v>-0.11023630874262669</c:v>
                </c:pt>
                <c:pt idx="574">
                  <c:v>-0.10506337174785951</c:v>
                </c:pt>
                <c:pt idx="575">
                  <c:v>-0.10818653401543821</c:v>
                </c:pt>
                <c:pt idx="576">
                  <c:v>-0.11277396566561038</c:v>
                </c:pt>
                <c:pt idx="577">
                  <c:v>-0.10926023295343223</c:v>
                </c:pt>
                <c:pt idx="578">
                  <c:v>-0.10926023295343223</c:v>
                </c:pt>
                <c:pt idx="579">
                  <c:v>-0.10926023295343223</c:v>
                </c:pt>
                <c:pt idx="580">
                  <c:v>-0.10926023295343223</c:v>
                </c:pt>
                <c:pt idx="581">
                  <c:v>-0.10867472760883734</c:v>
                </c:pt>
                <c:pt idx="582">
                  <c:v>-0.10691774447864677</c:v>
                </c:pt>
                <c:pt idx="583">
                  <c:v>-0.1083818581624384</c:v>
                </c:pt>
                <c:pt idx="584">
                  <c:v>-0.09647416949091192</c:v>
                </c:pt>
                <c:pt idx="585">
                  <c:v>-0.09910937171329437</c:v>
                </c:pt>
                <c:pt idx="586">
                  <c:v>-0.09910937171329437</c:v>
                </c:pt>
                <c:pt idx="587">
                  <c:v>-0.09910937171329437</c:v>
                </c:pt>
                <c:pt idx="588">
                  <c:v>-0.09745016743070545</c:v>
                </c:pt>
                <c:pt idx="589">
                  <c:v>-0.09579096314811641</c:v>
                </c:pt>
                <c:pt idx="590">
                  <c:v>-0.09764541372830471</c:v>
                </c:pt>
                <c:pt idx="591">
                  <c:v>-0.10096397799228451</c:v>
                </c:pt>
                <c:pt idx="592">
                  <c:v>-0.10037831694888766</c:v>
                </c:pt>
                <c:pt idx="593">
                  <c:v>-0.10037831694888766</c:v>
                </c:pt>
                <c:pt idx="594">
                  <c:v>-0.10037831694888766</c:v>
                </c:pt>
                <c:pt idx="595">
                  <c:v>-0.09998790220309006</c:v>
                </c:pt>
                <c:pt idx="596">
                  <c:v>-0.11443332564700126</c:v>
                </c:pt>
                <c:pt idx="597">
                  <c:v>-0.11667819097298715</c:v>
                </c:pt>
                <c:pt idx="598">
                  <c:v>-0.10154956118628045</c:v>
                </c:pt>
                <c:pt idx="599">
                  <c:v>-0.09627892319331266</c:v>
                </c:pt>
                <c:pt idx="600">
                  <c:v>-0.09627892319331266</c:v>
                </c:pt>
                <c:pt idx="601">
                  <c:v>-0.09627892319331266</c:v>
                </c:pt>
                <c:pt idx="602">
                  <c:v>-0.09745016743070545</c:v>
                </c:pt>
                <c:pt idx="603">
                  <c:v>-0.10760102867084331</c:v>
                </c:pt>
                <c:pt idx="604">
                  <c:v>-0.11082196978602354</c:v>
                </c:pt>
                <c:pt idx="605">
                  <c:v>-0.1140429887506047</c:v>
                </c:pt>
                <c:pt idx="606">
                  <c:v>-0.09901190426329676</c:v>
                </c:pt>
                <c:pt idx="607">
                  <c:v>-0.09901190426329676</c:v>
                </c:pt>
                <c:pt idx="608">
                  <c:v>-0.09901190426329676</c:v>
                </c:pt>
                <c:pt idx="609">
                  <c:v>-0.09862148951749916</c:v>
                </c:pt>
                <c:pt idx="610">
                  <c:v>-0.10242801382667521</c:v>
                </c:pt>
                <c:pt idx="611">
                  <c:v>-0.10018307065128851</c:v>
                </c:pt>
                <c:pt idx="612">
                  <c:v>-0.10242801382667521</c:v>
                </c:pt>
                <c:pt idx="613">
                  <c:v>-0.10496582644846086</c:v>
                </c:pt>
                <c:pt idx="614">
                  <c:v>-0.10496582644846086</c:v>
                </c:pt>
                <c:pt idx="615">
                  <c:v>-0.10496582644846086</c:v>
                </c:pt>
                <c:pt idx="616">
                  <c:v>-0.09881665796569739</c:v>
                </c:pt>
                <c:pt idx="617">
                  <c:v>-0.10603944753705397</c:v>
                </c:pt>
                <c:pt idx="618">
                  <c:v>-0.09764541372830471</c:v>
                </c:pt>
                <c:pt idx="619">
                  <c:v>-0.09315544952813026</c:v>
                </c:pt>
                <c:pt idx="620">
                  <c:v>-0.09256994418353537</c:v>
                </c:pt>
                <c:pt idx="621">
                  <c:v>-0.09256994418353537</c:v>
                </c:pt>
                <c:pt idx="622">
                  <c:v>-0.09256994418353537</c:v>
                </c:pt>
                <c:pt idx="623">
                  <c:v>-0.09120345364854343</c:v>
                </c:pt>
                <c:pt idx="624">
                  <c:v>-0.10262326012427458</c:v>
                </c:pt>
                <c:pt idx="625">
                  <c:v>-0.11091959293482323</c:v>
                </c:pt>
                <c:pt idx="626">
                  <c:v>-0.10730831492324633</c:v>
                </c:pt>
                <c:pt idx="627">
                  <c:v>-0.09559556115171541</c:v>
                </c:pt>
                <c:pt idx="628">
                  <c:v>-0.09559556115171541</c:v>
                </c:pt>
                <c:pt idx="629">
                  <c:v>-0.09559556115171541</c:v>
                </c:pt>
                <c:pt idx="630">
                  <c:v>-0.09559556115171541</c:v>
                </c:pt>
                <c:pt idx="631">
                  <c:v>-0.09930469586029478</c:v>
                </c:pt>
                <c:pt idx="632">
                  <c:v>-0.1057465002412542</c:v>
                </c:pt>
                <c:pt idx="633">
                  <c:v>-0.0951076789559201</c:v>
                </c:pt>
                <c:pt idx="634">
                  <c:v>-0.08163825345180242</c:v>
                </c:pt>
                <c:pt idx="635">
                  <c:v>-0.08163825345180242</c:v>
                </c:pt>
                <c:pt idx="636">
                  <c:v>-0.08163825345180242</c:v>
                </c:pt>
                <c:pt idx="637">
                  <c:v>-0.0840784429247885</c:v>
                </c:pt>
                <c:pt idx="638">
                  <c:v>-0.07968610187341352</c:v>
                </c:pt>
                <c:pt idx="639">
                  <c:v>-0.08458656596483238</c:v>
                </c:pt>
                <c:pt idx="640">
                  <c:v>-0.07798034364905249</c:v>
                </c:pt>
                <c:pt idx="641">
                  <c:v>-0.07669855326230124</c:v>
                </c:pt>
                <c:pt idx="642">
                  <c:v>-0.07669855326230124</c:v>
                </c:pt>
                <c:pt idx="643">
                  <c:v>-0.07669855326230124</c:v>
                </c:pt>
                <c:pt idx="644">
                  <c:v>-0.06999369575550918</c:v>
                </c:pt>
                <c:pt idx="645">
                  <c:v>-0.06279574014305778</c:v>
                </c:pt>
                <c:pt idx="646">
                  <c:v>-0.0605279092437897</c:v>
                </c:pt>
                <c:pt idx="647">
                  <c:v>-0.04987896753633125</c:v>
                </c:pt>
                <c:pt idx="648">
                  <c:v>-0.05263989654125867</c:v>
                </c:pt>
                <c:pt idx="649">
                  <c:v>-0.05263989654125867</c:v>
                </c:pt>
                <c:pt idx="650">
                  <c:v>-0.05263989654125867</c:v>
                </c:pt>
                <c:pt idx="651">
                  <c:v>-0.05263989654125867</c:v>
                </c:pt>
                <c:pt idx="652">
                  <c:v>-0.06131675722368335</c:v>
                </c:pt>
                <c:pt idx="653">
                  <c:v>-0.06457047293666629</c:v>
                </c:pt>
                <c:pt idx="654">
                  <c:v>-0.06437335825344415</c:v>
                </c:pt>
                <c:pt idx="655">
                  <c:v>-0.07403625944838577</c:v>
                </c:pt>
                <c:pt idx="656">
                  <c:v>-0.07403625944838577</c:v>
                </c:pt>
                <c:pt idx="657">
                  <c:v>-0.07403625944838577</c:v>
                </c:pt>
                <c:pt idx="658">
                  <c:v>-0.07561387755877225</c:v>
                </c:pt>
                <c:pt idx="659">
                  <c:v>-0.06585241902221961</c:v>
                </c:pt>
                <c:pt idx="660">
                  <c:v>-0.06595097636383074</c:v>
                </c:pt>
                <c:pt idx="661">
                  <c:v>-0.06437335825344426</c:v>
                </c:pt>
                <c:pt idx="662">
                  <c:v>-0.05402016642022012</c:v>
                </c:pt>
                <c:pt idx="663">
                  <c:v>-0.05402016642022012</c:v>
                </c:pt>
                <c:pt idx="664">
                  <c:v>-0.05402016642022012</c:v>
                </c:pt>
                <c:pt idx="665">
                  <c:v>-0.05175241337035297</c:v>
                </c:pt>
                <c:pt idx="666">
                  <c:v>-0.05175241337035297</c:v>
                </c:pt>
                <c:pt idx="667">
                  <c:v>-0.056386632510500134</c:v>
                </c:pt>
                <c:pt idx="668">
                  <c:v>-0.06802161473047541</c:v>
                </c:pt>
                <c:pt idx="669">
                  <c:v>-0.06614824674585462</c:v>
                </c:pt>
                <c:pt idx="670">
                  <c:v>-0.06614824674585462</c:v>
                </c:pt>
                <c:pt idx="671">
                  <c:v>-0.06614824674585462</c:v>
                </c:pt>
                <c:pt idx="672">
                  <c:v>-0.06378178065557438</c:v>
                </c:pt>
                <c:pt idx="673">
                  <c:v>-0.05638663251049991</c:v>
                </c:pt>
                <c:pt idx="674">
                  <c:v>-0.04504747801415987</c:v>
                </c:pt>
                <c:pt idx="675">
                  <c:v>-0.034201421623479056</c:v>
                </c:pt>
                <c:pt idx="676">
                  <c:v>-0.036863559738592455</c:v>
                </c:pt>
                <c:pt idx="677">
                  <c:v>-0.036863559738592455</c:v>
                </c:pt>
                <c:pt idx="678">
                  <c:v>-0.036863559738592455</c:v>
                </c:pt>
                <c:pt idx="679">
                  <c:v>-0.03439853630670131</c:v>
                </c:pt>
                <c:pt idx="680">
                  <c:v>-0.028975547036061533</c:v>
                </c:pt>
                <c:pt idx="681">
                  <c:v>-0.027792313990921524</c:v>
                </c:pt>
                <c:pt idx="682">
                  <c:v>-0.034299978965090294</c:v>
                </c:pt>
                <c:pt idx="683">
                  <c:v>-0.03380711440763373</c:v>
                </c:pt>
                <c:pt idx="684">
                  <c:v>-0.03380711440763373</c:v>
                </c:pt>
                <c:pt idx="685">
                  <c:v>-0.03380711440763373</c:v>
                </c:pt>
                <c:pt idx="686">
                  <c:v>-0.03035597261382461</c:v>
                </c:pt>
                <c:pt idx="687">
                  <c:v>-0.027200658543650724</c:v>
                </c:pt>
                <c:pt idx="688">
                  <c:v>-0.025918868156899588</c:v>
                </c:pt>
                <c:pt idx="689">
                  <c:v>-0.032032148065822</c:v>
                </c:pt>
                <c:pt idx="690">
                  <c:v>-0.021876304464023</c:v>
                </c:pt>
                <c:pt idx="691">
                  <c:v>-0.021876304464023</c:v>
                </c:pt>
                <c:pt idx="692">
                  <c:v>-0.021876304464023</c:v>
                </c:pt>
                <c:pt idx="693">
                  <c:v>-0.020002858630001397</c:v>
                </c:pt>
                <c:pt idx="694">
                  <c:v>-0.026806429177206437</c:v>
                </c:pt>
                <c:pt idx="695">
                  <c:v>-0.04287836015530477</c:v>
                </c:pt>
                <c:pt idx="696">
                  <c:v>-0.04514611320517192</c:v>
                </c:pt>
                <c:pt idx="697">
                  <c:v>-0.04711811638080465</c:v>
                </c:pt>
                <c:pt idx="698">
                  <c:v>-0.04711811638080465</c:v>
                </c:pt>
                <c:pt idx="699">
                  <c:v>-0.04711811638080465</c:v>
                </c:pt>
                <c:pt idx="700">
                  <c:v>-0.04070908659764794</c:v>
                </c:pt>
                <c:pt idx="701">
                  <c:v>-0.04623071105929988</c:v>
                </c:pt>
                <c:pt idx="702">
                  <c:v>-0.0502733526015775</c:v>
                </c:pt>
                <c:pt idx="703">
                  <c:v>-0.048794369682203076</c:v>
                </c:pt>
                <c:pt idx="704">
                  <c:v>-0.052343990968222176</c:v>
                </c:pt>
                <c:pt idx="705">
                  <c:v>-0.052343990968222176</c:v>
                </c:pt>
                <c:pt idx="706">
                  <c:v>-0.052343990968222176</c:v>
                </c:pt>
                <c:pt idx="707">
                  <c:v>-0.0504706229836015</c:v>
                </c:pt>
                <c:pt idx="708">
                  <c:v>-0.06210552735417585</c:v>
                </c:pt>
                <c:pt idx="709">
                  <c:v>-0.06930348296662714</c:v>
                </c:pt>
                <c:pt idx="710">
                  <c:v>-0.07541668502614862</c:v>
                </c:pt>
                <c:pt idx="711">
                  <c:v>-0.07581107009139498</c:v>
                </c:pt>
                <c:pt idx="712">
                  <c:v>-0.07581107009139498</c:v>
                </c:pt>
                <c:pt idx="713">
                  <c:v>-0.07581107009139498</c:v>
                </c:pt>
                <c:pt idx="714">
                  <c:v>-0.07097958056922371</c:v>
                </c:pt>
                <c:pt idx="715">
                  <c:v>-0.0730502189358686</c:v>
                </c:pt>
                <c:pt idx="716">
                  <c:v>-0.06210552735417585</c:v>
                </c:pt>
                <c:pt idx="717">
                  <c:v>-0.07403625944838543</c:v>
                </c:pt>
                <c:pt idx="718">
                  <c:v>-0.06841599979572133</c:v>
                </c:pt>
                <c:pt idx="719">
                  <c:v>-0.06841599979572133</c:v>
                </c:pt>
                <c:pt idx="720">
                  <c:v>-0.06841599979572133</c:v>
                </c:pt>
                <c:pt idx="721">
                  <c:v>-0.06121812203267096</c:v>
                </c:pt>
                <c:pt idx="722">
                  <c:v>-0.04790696436069808</c:v>
                </c:pt>
                <c:pt idx="723">
                  <c:v>-0.04554049827041806</c:v>
                </c:pt>
                <c:pt idx="724">
                  <c:v>-0.04849861980796866</c:v>
                </c:pt>
                <c:pt idx="725">
                  <c:v>-0.04583640384345433</c:v>
                </c:pt>
                <c:pt idx="726">
                  <c:v>-0.04583640384345433</c:v>
                </c:pt>
                <c:pt idx="727">
                  <c:v>-0.04583640384345433</c:v>
                </c:pt>
                <c:pt idx="728">
                  <c:v>-0.04583640384345433</c:v>
                </c:pt>
                <c:pt idx="729">
                  <c:v>-0.05135795045570535</c:v>
                </c:pt>
                <c:pt idx="730">
                  <c:v>-0.056879652766758215</c:v>
                </c:pt>
                <c:pt idx="731">
                  <c:v>-0.06042935190217835</c:v>
                </c:pt>
                <c:pt idx="732">
                  <c:v>-0.060034888987531065</c:v>
                </c:pt>
                <c:pt idx="733">
                  <c:v>-0.060034888987531065</c:v>
                </c:pt>
                <c:pt idx="734">
                  <c:v>-0.060034888987531065</c:v>
                </c:pt>
                <c:pt idx="735">
                  <c:v>-0.05194952805357489</c:v>
                </c:pt>
                <c:pt idx="736">
                  <c:v>-0.05648518985211093</c:v>
                </c:pt>
                <c:pt idx="737">
                  <c:v>-0.05618943997787662</c:v>
                </c:pt>
                <c:pt idx="738">
                  <c:v>-0.04751257929545183</c:v>
                </c:pt>
                <c:pt idx="739">
                  <c:v>-0.05520347731476072</c:v>
                </c:pt>
                <c:pt idx="740">
                  <c:v>-0.05520347731476072</c:v>
                </c:pt>
                <c:pt idx="741">
                  <c:v>-0.05520347731476072</c:v>
                </c:pt>
                <c:pt idx="742">
                  <c:v>-0.05618943997787662</c:v>
                </c:pt>
                <c:pt idx="743">
                  <c:v>-0.05826000049512048</c:v>
                </c:pt>
                <c:pt idx="744">
                  <c:v>-0.06437335825344381</c:v>
                </c:pt>
                <c:pt idx="745">
                  <c:v>-0.07985371163367261</c:v>
                </c:pt>
                <c:pt idx="746">
                  <c:v>-0.08044536708094308</c:v>
                </c:pt>
                <c:pt idx="747">
                  <c:v>-0.08044536708094308</c:v>
                </c:pt>
                <c:pt idx="748">
                  <c:v>-0.08044536708094308</c:v>
                </c:pt>
                <c:pt idx="749">
                  <c:v>-0.0792622118852041</c:v>
                </c:pt>
                <c:pt idx="750">
                  <c:v>-0.09267192689878812</c:v>
                </c:pt>
                <c:pt idx="751">
                  <c:v>-0.09227754183354175</c:v>
                </c:pt>
                <c:pt idx="752">
                  <c:v>-0.08665728218087765</c:v>
                </c:pt>
                <c:pt idx="753">
                  <c:v>-0.08922086295438003</c:v>
                </c:pt>
                <c:pt idx="754">
                  <c:v>-0.08922086295438003</c:v>
                </c:pt>
                <c:pt idx="755">
                  <c:v>-0.08922086295438003</c:v>
                </c:pt>
                <c:pt idx="756">
                  <c:v>-0.09326350449665766</c:v>
                </c:pt>
                <c:pt idx="757">
                  <c:v>-0.10539142912349042</c:v>
                </c:pt>
                <c:pt idx="758">
                  <c:v>-0.10154598011383609</c:v>
                </c:pt>
                <c:pt idx="759">
                  <c:v>-0.09927814921456812</c:v>
                </c:pt>
                <c:pt idx="760">
                  <c:v>-0.08813618725085126</c:v>
                </c:pt>
                <c:pt idx="761">
                  <c:v>-0.08813618725085126</c:v>
                </c:pt>
                <c:pt idx="762">
                  <c:v>-0.08813618725085126</c:v>
                </c:pt>
                <c:pt idx="763">
                  <c:v>-0.08488247153786821</c:v>
                </c:pt>
                <c:pt idx="764">
                  <c:v>-0.07719157351855943</c:v>
                </c:pt>
                <c:pt idx="765">
                  <c:v>-0.07295166159425759</c:v>
                </c:pt>
                <c:pt idx="766">
                  <c:v>-0.08005082631689497</c:v>
                </c:pt>
                <c:pt idx="767">
                  <c:v>-0.08527685660311446</c:v>
                </c:pt>
                <c:pt idx="768">
                  <c:v>-0.08527685660311446</c:v>
                </c:pt>
                <c:pt idx="769">
                  <c:v>-0.08527685660311446</c:v>
                </c:pt>
                <c:pt idx="770">
                  <c:v>-0.07689574579492398</c:v>
                </c:pt>
                <c:pt idx="771">
                  <c:v>-0.07650128288027658</c:v>
                </c:pt>
                <c:pt idx="772">
                  <c:v>-0.08971388321063833</c:v>
                </c:pt>
                <c:pt idx="773">
                  <c:v>-0.09789780148620564</c:v>
                </c:pt>
                <c:pt idx="774">
                  <c:v>-0.10864522268587429</c:v>
                </c:pt>
                <c:pt idx="775">
                  <c:v>-0.10864522268587429</c:v>
                </c:pt>
                <c:pt idx="776">
                  <c:v>-0.10864522268587429</c:v>
                </c:pt>
                <c:pt idx="777">
                  <c:v>-0.10933551332415692</c:v>
                </c:pt>
                <c:pt idx="778">
                  <c:v>-0.10282792619938896</c:v>
                </c:pt>
                <c:pt idx="779">
                  <c:v>-0.11426556018793921</c:v>
                </c:pt>
                <c:pt idx="780">
                  <c:v>-0.12333680593561025</c:v>
                </c:pt>
                <c:pt idx="781">
                  <c:v>-0.12649219785518506</c:v>
                </c:pt>
                <c:pt idx="782">
                  <c:v>-0.12649219785518506</c:v>
                </c:pt>
                <c:pt idx="783">
                  <c:v>-0.12649219785518506</c:v>
                </c:pt>
                <c:pt idx="784">
                  <c:v>-0.11633612070518318</c:v>
                </c:pt>
                <c:pt idx="785">
                  <c:v>-0.11239219220331864</c:v>
                </c:pt>
                <c:pt idx="786">
                  <c:v>-0.10351806113886985</c:v>
                </c:pt>
                <c:pt idx="787">
                  <c:v>-0.08576979900997206</c:v>
                </c:pt>
                <c:pt idx="788">
                  <c:v>-0.07521941464412474</c:v>
                </c:pt>
                <c:pt idx="789">
                  <c:v>-0.07521941464412474</c:v>
                </c:pt>
                <c:pt idx="790">
                  <c:v>-0.07521941464412474</c:v>
                </c:pt>
                <c:pt idx="791">
                  <c:v>-0.0744306445136319</c:v>
                </c:pt>
                <c:pt idx="792">
                  <c:v>-0.07492366476989032</c:v>
                </c:pt>
                <c:pt idx="793">
                  <c:v>-0.0751208573025135</c:v>
                </c:pt>
                <c:pt idx="794">
                  <c:v>-0.08064255961356648</c:v>
                </c:pt>
                <c:pt idx="795">
                  <c:v>-0.07009233094652112</c:v>
                </c:pt>
                <c:pt idx="796">
                  <c:v>-0.07009233094652112</c:v>
                </c:pt>
                <c:pt idx="797">
                  <c:v>-0.07009233094652112</c:v>
                </c:pt>
                <c:pt idx="798">
                  <c:v>-0.06989506056449712</c:v>
                </c:pt>
                <c:pt idx="799">
                  <c:v>-0.04958313981269602</c:v>
                </c:pt>
                <c:pt idx="800">
                  <c:v>-0.047611214486464326</c:v>
                </c:pt>
                <c:pt idx="801">
                  <c:v>-0.04830142727534603</c:v>
                </c:pt>
                <c:pt idx="802">
                  <c:v>-0.04406159320044534</c:v>
                </c:pt>
                <c:pt idx="803">
                  <c:v>-0.04406159320044534</c:v>
                </c:pt>
                <c:pt idx="804">
                  <c:v>-0.04406159320044534</c:v>
                </c:pt>
                <c:pt idx="805">
                  <c:v>-0.03735665784425246</c:v>
                </c:pt>
                <c:pt idx="806">
                  <c:v>-0.03992023861775473</c:v>
                </c:pt>
                <c:pt idx="807">
                  <c:v>-0.0372580226532403</c:v>
                </c:pt>
                <c:pt idx="808">
                  <c:v>-0.0372580226532403</c:v>
                </c:pt>
                <c:pt idx="809">
                  <c:v>-0.034891634412361094</c:v>
                </c:pt>
                <c:pt idx="810">
                  <c:v>-0.034891634412361094</c:v>
                </c:pt>
                <c:pt idx="811">
                  <c:v>-0.034891634412361094</c:v>
                </c:pt>
                <c:pt idx="812">
                  <c:v>-0.03745521518586348</c:v>
                </c:pt>
                <c:pt idx="813">
                  <c:v>-0.035877674924878034</c:v>
                </c:pt>
                <c:pt idx="814">
                  <c:v>-0.03597638796529101</c:v>
                </c:pt>
                <c:pt idx="815">
                  <c:v>-0.03351128668399883</c:v>
                </c:pt>
                <c:pt idx="816">
                  <c:v>-0.02631333107154743</c:v>
                </c:pt>
                <c:pt idx="817">
                  <c:v>-0.02631333107154743</c:v>
                </c:pt>
                <c:pt idx="818">
                  <c:v>-0.02631333107154743</c:v>
                </c:pt>
                <c:pt idx="819">
                  <c:v>-0.03232789794005675</c:v>
                </c:pt>
                <c:pt idx="820">
                  <c:v>-0.03420142162347939</c:v>
                </c:pt>
                <c:pt idx="821">
                  <c:v>-0.03607486745750099</c:v>
                </c:pt>
                <c:pt idx="822">
                  <c:v>-0.02986295235756653</c:v>
                </c:pt>
                <c:pt idx="823">
                  <c:v>-0.02670771613679368</c:v>
                </c:pt>
                <c:pt idx="824">
                  <c:v>-0.02670771613679368</c:v>
                </c:pt>
                <c:pt idx="825">
                  <c:v>-0.02670771613679368</c:v>
                </c:pt>
                <c:pt idx="826">
                  <c:v>-0.023256652192385485</c:v>
                </c:pt>
                <c:pt idx="827">
                  <c:v>-0.020101415971612746</c:v>
                </c:pt>
                <c:pt idx="828">
                  <c:v>-0.0065930657670166815</c:v>
                </c:pt>
                <c:pt idx="829">
                  <c:v>-0.00018395813445903908</c:v>
                </c:pt>
                <c:pt idx="830">
                  <c:v>-0.0044238700587607704</c:v>
                </c:pt>
                <c:pt idx="831">
                  <c:v>-0.0044238700587607704</c:v>
                </c:pt>
                <c:pt idx="832">
                  <c:v>-0.0044238700587607704</c:v>
                </c:pt>
                <c:pt idx="833">
                  <c:v>1.3156548763326725e-05</c:v>
                </c:pt>
                <c:pt idx="834">
                  <c:v>0.0072111900106155424</c:v>
                </c:pt>
                <c:pt idx="835">
                  <c:v>-0.006803959794208225</c:v>
                </c:pt>
                <c:pt idx="836">
                  <c:v>0.005638398563088565</c:v>
                </c:pt>
                <c:pt idx="837">
                  <c:v>0.007131472224036095</c:v>
                </c:pt>
                <c:pt idx="838">
                  <c:v>0.007131472224036095</c:v>
                </c:pt>
                <c:pt idx="839">
                  <c:v>0.007131472224036095</c:v>
                </c:pt>
                <c:pt idx="840">
                  <c:v>0.007131472224036095</c:v>
                </c:pt>
                <c:pt idx="841">
                  <c:v>0.012008815043370813</c:v>
                </c:pt>
                <c:pt idx="842">
                  <c:v>0.014895392981442379</c:v>
                </c:pt>
                <c:pt idx="843">
                  <c:v>0.014895392981442379</c:v>
                </c:pt>
                <c:pt idx="844">
                  <c:v>0.0130041974840025</c:v>
                </c:pt>
                <c:pt idx="845">
                  <c:v>0.0130041974840025</c:v>
                </c:pt>
                <c:pt idx="846">
                  <c:v>0.0130041974840025</c:v>
                </c:pt>
                <c:pt idx="847">
                  <c:v>0.0130041974840025</c:v>
                </c:pt>
                <c:pt idx="848">
                  <c:v>0.00434438582038732</c:v>
                </c:pt>
                <c:pt idx="849">
                  <c:v>-0.003618751554066879</c:v>
                </c:pt>
                <c:pt idx="850">
                  <c:v>-0.004713625529121135</c:v>
                </c:pt>
                <c:pt idx="851">
                  <c:v>-0.003817734622912017</c:v>
                </c:pt>
                <c:pt idx="852">
                  <c:v>-0.003817734622912017</c:v>
                </c:pt>
                <c:pt idx="853">
                  <c:v>-0.003817734622912017</c:v>
                </c:pt>
                <c:pt idx="854">
                  <c:v>0.008126854664667782</c:v>
                </c:pt>
                <c:pt idx="855">
                  <c:v>0.003548142147402622</c:v>
                </c:pt>
                <c:pt idx="856">
                  <c:v>0.008226346199090129</c:v>
                </c:pt>
                <c:pt idx="857">
                  <c:v>0.007728732828175211</c:v>
                </c:pt>
                <c:pt idx="858">
                  <c:v>0.009818989243861154</c:v>
                </c:pt>
                <c:pt idx="859">
                  <c:v>0.009818989243861154</c:v>
                </c:pt>
                <c:pt idx="860">
                  <c:v>0.009818989243861154</c:v>
                </c:pt>
                <c:pt idx="861">
                  <c:v>0.009818989243861154</c:v>
                </c:pt>
                <c:pt idx="862">
                  <c:v>0.0009600388125987624</c:v>
                </c:pt>
                <c:pt idx="863">
                  <c:v>-0.006704390410384842</c:v>
                </c:pt>
                <c:pt idx="864">
                  <c:v>0.001955499102631375</c:v>
                </c:pt>
                <c:pt idx="865">
                  <c:v>0.012008815043370591</c:v>
                </c:pt>
                <c:pt idx="866">
                  <c:v>0.012008815043370591</c:v>
                </c:pt>
                <c:pt idx="867">
                  <c:v>0.012008815043370591</c:v>
                </c:pt>
                <c:pt idx="868">
                  <c:v>0.013601458088141616</c:v>
                </c:pt>
                <c:pt idx="869">
                  <c:v>0.015691792353228484</c:v>
                </c:pt>
                <c:pt idx="870">
                  <c:v>0.019076061511615894</c:v>
                </c:pt>
                <c:pt idx="871">
                  <c:v>0.02315723850736706</c:v>
                </c:pt>
                <c:pt idx="872">
                  <c:v>0.02405297371477433</c:v>
                </c:pt>
                <c:pt idx="873">
                  <c:v>0.02405297371477433</c:v>
                </c:pt>
                <c:pt idx="874">
                  <c:v>0.02405297371477433</c:v>
                </c:pt>
                <c:pt idx="875">
                  <c:v>0.03082158988094985</c:v>
                </c:pt>
                <c:pt idx="876">
                  <c:v>0.029129533151157183</c:v>
                </c:pt>
                <c:pt idx="877">
                  <c:v>0.015791361737052423</c:v>
                </c:pt>
                <c:pt idx="878">
                  <c:v>0.02843270316319435</c:v>
                </c:pt>
                <c:pt idx="879">
                  <c:v>0.03261329384396694</c:v>
                </c:pt>
                <c:pt idx="880">
                  <c:v>0.03261329384396694</c:v>
                </c:pt>
                <c:pt idx="881">
                  <c:v>0.03261329384396694</c:v>
                </c:pt>
                <c:pt idx="882">
                  <c:v>0.028631764081440192</c:v>
                </c:pt>
                <c:pt idx="883">
                  <c:v>0.03460405872523009</c:v>
                </c:pt>
                <c:pt idx="884">
                  <c:v>0.03987967907985901</c:v>
                </c:pt>
                <c:pt idx="885">
                  <c:v>0.0396805403122118</c:v>
                </c:pt>
                <c:pt idx="886">
                  <c:v>0.045254790968910275</c:v>
                </c:pt>
                <c:pt idx="887">
                  <c:v>0.045254790968910275</c:v>
                </c:pt>
                <c:pt idx="888">
                  <c:v>0.045254790968910275</c:v>
                </c:pt>
                <c:pt idx="889">
                  <c:v>0.046548725862210594</c:v>
                </c:pt>
                <c:pt idx="890">
                  <c:v>0.02992585467354214</c:v>
                </c:pt>
                <c:pt idx="891">
                  <c:v>0.0412731833569826</c:v>
                </c:pt>
                <c:pt idx="892">
                  <c:v>0.04963444256792915</c:v>
                </c:pt>
                <c:pt idx="893">
                  <c:v>0.04704649493192736</c:v>
                </c:pt>
                <c:pt idx="894">
                  <c:v>0.04704649493192736</c:v>
                </c:pt>
                <c:pt idx="895">
                  <c:v>0.04704649493192736</c:v>
                </c:pt>
                <c:pt idx="896">
                  <c:v>0.04704649493192736</c:v>
                </c:pt>
                <c:pt idx="897">
                  <c:v>0.044060269760631376</c:v>
                </c:pt>
                <c:pt idx="898">
                  <c:v>0.044358900062700934</c:v>
                </c:pt>
                <c:pt idx="899">
                  <c:v>0.062375431227295275</c:v>
                </c:pt>
                <c:pt idx="900">
                  <c:v>0.06277355306378762</c:v>
                </c:pt>
                <c:pt idx="901">
                  <c:v>0.06277355306378762</c:v>
                </c:pt>
                <c:pt idx="902">
                  <c:v>0.06277355306378762</c:v>
                </c:pt>
                <c:pt idx="903">
                  <c:v>0.05988697512571628</c:v>
                </c:pt>
                <c:pt idx="904">
                  <c:v>0.06197730939080315</c:v>
                </c:pt>
                <c:pt idx="905">
                  <c:v>0.05749801055855963</c:v>
                </c:pt>
                <c:pt idx="906">
                  <c:v>0.06157910970490987</c:v>
                </c:pt>
                <c:pt idx="907">
                  <c:v>0.07183156441329608</c:v>
                </c:pt>
                <c:pt idx="908">
                  <c:v>0.07183156441329608</c:v>
                </c:pt>
                <c:pt idx="909">
                  <c:v>0.07183156441329608</c:v>
                </c:pt>
                <c:pt idx="910">
                  <c:v>0.07023892136852505</c:v>
                </c:pt>
                <c:pt idx="911">
                  <c:v>0.06157910970490987</c:v>
                </c:pt>
                <c:pt idx="912">
                  <c:v>0.06984079953203293</c:v>
                </c:pt>
                <c:pt idx="913">
                  <c:v>0.08098906729722732</c:v>
                </c:pt>
                <c:pt idx="914">
                  <c:v>0.07571352479199933</c:v>
                </c:pt>
                <c:pt idx="915">
                  <c:v>0.07571352479199933</c:v>
                </c:pt>
                <c:pt idx="916">
                  <c:v>0.07571352479199933</c:v>
                </c:pt>
                <c:pt idx="917">
                  <c:v>0.07352377684189082</c:v>
                </c:pt>
                <c:pt idx="918">
                  <c:v>0.08437341430501544</c:v>
                </c:pt>
                <c:pt idx="919">
                  <c:v>0.0829799100278914</c:v>
                </c:pt>
                <c:pt idx="920">
                  <c:v>0.07869967211389417</c:v>
                </c:pt>
                <c:pt idx="921">
                  <c:v>0.07322514653982104</c:v>
                </c:pt>
                <c:pt idx="922">
                  <c:v>0.07322514653982104</c:v>
                </c:pt>
                <c:pt idx="923">
                  <c:v>0.07322514653982104</c:v>
                </c:pt>
                <c:pt idx="924">
                  <c:v>0.07760487598824084</c:v>
                </c:pt>
                <c:pt idx="925">
                  <c:v>0.08138726698312038</c:v>
                </c:pt>
                <c:pt idx="926">
                  <c:v>0.09233647383006849</c:v>
                </c:pt>
                <c:pt idx="927">
                  <c:v>0.09472543839722514</c:v>
                </c:pt>
                <c:pt idx="928">
                  <c:v>0.09213749076122335</c:v>
                </c:pt>
                <c:pt idx="929">
                  <c:v>0.09213749076122335</c:v>
                </c:pt>
                <c:pt idx="930">
                  <c:v>0.09213749076122335</c:v>
                </c:pt>
                <c:pt idx="931">
                  <c:v>0.08994758711231299</c:v>
                </c:pt>
                <c:pt idx="932">
                  <c:v>0.08845451345136546</c:v>
                </c:pt>
                <c:pt idx="933">
                  <c:v>0.09641757297641873</c:v>
                </c:pt>
                <c:pt idx="934">
                  <c:v>0.09621851205817267</c:v>
                </c:pt>
                <c:pt idx="935">
                  <c:v>0.09621851205817267</c:v>
                </c:pt>
                <c:pt idx="936">
                  <c:v>0.09621851205817267</c:v>
                </c:pt>
                <c:pt idx="937">
                  <c:v>0.09621851205817267</c:v>
                </c:pt>
                <c:pt idx="938">
                  <c:v>0.09363048657276996</c:v>
                </c:pt>
                <c:pt idx="939">
                  <c:v>0.08716050070866421</c:v>
                </c:pt>
                <c:pt idx="940">
                  <c:v>0.08974852619406692</c:v>
                </c:pt>
                <c:pt idx="941">
                  <c:v>0.07879924149771766</c:v>
                </c:pt>
                <c:pt idx="942">
                  <c:v>0.08725999224308678</c:v>
                </c:pt>
                <c:pt idx="943">
                  <c:v>0.08725999224308678</c:v>
                </c:pt>
                <c:pt idx="944">
                  <c:v>0.08725999224308678</c:v>
                </c:pt>
                <c:pt idx="945">
                  <c:v>0.08954938742641971</c:v>
                </c:pt>
                <c:pt idx="946">
                  <c:v>0.09114210832059166</c:v>
                </c:pt>
                <c:pt idx="947">
                  <c:v>0.07869967211389395</c:v>
                </c:pt>
                <c:pt idx="948">
                  <c:v>0.08507016644357734</c:v>
                </c:pt>
                <c:pt idx="949">
                  <c:v>0.06834772587108517</c:v>
                </c:pt>
                <c:pt idx="950">
                  <c:v>0.06834772587108517</c:v>
                </c:pt>
                <c:pt idx="951">
                  <c:v>0.06834772587108517</c:v>
                </c:pt>
                <c:pt idx="952">
                  <c:v>0.05799570177887525</c:v>
                </c:pt>
                <c:pt idx="953">
                  <c:v>0.0524215289715777</c:v>
                </c:pt>
                <c:pt idx="954">
                  <c:v>0.04853941289407282</c:v>
                </c:pt>
                <c:pt idx="955">
                  <c:v>0.04704649493192714</c:v>
                </c:pt>
                <c:pt idx="956">
                  <c:v>0.0405765090678214</c:v>
                </c:pt>
                <c:pt idx="957">
                  <c:v>0.0405765090678214</c:v>
                </c:pt>
                <c:pt idx="958">
                  <c:v>0.0405765090678214</c:v>
                </c:pt>
                <c:pt idx="959">
                  <c:v>0.05112751622887646</c:v>
                </c:pt>
                <c:pt idx="960">
                  <c:v>0.06287304459821019</c:v>
                </c:pt>
                <c:pt idx="961">
                  <c:v>0.06227586184347178</c:v>
                </c:pt>
                <c:pt idx="962">
                  <c:v>0.058991006370106236</c:v>
                </c:pt>
                <c:pt idx="963">
                  <c:v>0.06884533924200031</c:v>
                </c:pt>
                <c:pt idx="964">
                  <c:v>0.06884533924200031</c:v>
                </c:pt>
                <c:pt idx="965">
                  <c:v>0.06884533924200031</c:v>
                </c:pt>
                <c:pt idx="966">
                  <c:v>0.07352377684189082</c:v>
                </c:pt>
                <c:pt idx="967">
                  <c:v>0.05729894964031379</c:v>
                </c:pt>
                <c:pt idx="968">
                  <c:v>0.054511863236665015</c:v>
                </c:pt>
                <c:pt idx="969">
                  <c:v>0.06765089588312256</c:v>
                </c:pt>
                <c:pt idx="970">
                  <c:v>0.07929693271803373</c:v>
                </c:pt>
                <c:pt idx="971">
                  <c:v>0.07929693271803373</c:v>
                </c:pt>
                <c:pt idx="972">
                  <c:v>0.07929693271803373</c:v>
                </c:pt>
                <c:pt idx="973">
                  <c:v>0.08905177405550502</c:v>
                </c:pt>
                <c:pt idx="974">
                  <c:v>0.08935032650817365</c:v>
                </c:pt>
                <c:pt idx="975">
                  <c:v>0.08875314375343524</c:v>
                </c:pt>
                <c:pt idx="976">
                  <c:v>0.09532269900136447</c:v>
                </c:pt>
                <c:pt idx="977">
                  <c:v>0.09671620327848851</c:v>
                </c:pt>
                <c:pt idx="978">
                  <c:v>0.09671620327848851</c:v>
                </c:pt>
                <c:pt idx="979">
                  <c:v>0.09671620327848851</c:v>
                </c:pt>
                <c:pt idx="980">
                  <c:v>0.09741303326645157</c:v>
                </c:pt>
                <c:pt idx="981">
                  <c:v>0.10348481944466403</c:v>
                </c:pt>
                <c:pt idx="982">
                  <c:v>0.11612616087080596</c:v>
                </c:pt>
                <c:pt idx="983">
                  <c:v>0.11383684353687396</c:v>
                </c:pt>
                <c:pt idx="984">
                  <c:v>0.11642494687167759</c:v>
                </c:pt>
                <c:pt idx="985">
                  <c:v>0.11642494687167759</c:v>
                </c:pt>
                <c:pt idx="986">
                  <c:v>0.11642494687167759</c:v>
                </c:pt>
                <c:pt idx="987">
                  <c:v>0.1171216990102395</c:v>
                </c:pt>
                <c:pt idx="988">
                  <c:v>0.11732068207908464</c:v>
                </c:pt>
                <c:pt idx="989">
                  <c:v>0.11204513957385664</c:v>
                </c:pt>
                <c:pt idx="990">
                  <c:v>0.10467926280354178</c:v>
                </c:pt>
                <c:pt idx="991">
                  <c:v>0.11184607865561058</c:v>
                </c:pt>
                <c:pt idx="992">
                  <c:v>0.11184607865561058</c:v>
                </c:pt>
                <c:pt idx="993">
                  <c:v>0.11184607865561058</c:v>
                </c:pt>
                <c:pt idx="994">
                  <c:v>0.11184607865561058</c:v>
                </c:pt>
                <c:pt idx="995">
                  <c:v>0.11214470895768036</c:v>
                </c:pt>
                <c:pt idx="996">
                  <c:v>0.10089679395926154</c:v>
                </c:pt>
                <c:pt idx="997">
                  <c:v>0.09810970755561277</c:v>
                </c:pt>
                <c:pt idx="998">
                  <c:v>0.10567472309357462</c:v>
                </c:pt>
                <c:pt idx="999">
                  <c:v>0.10567472309357462</c:v>
                </c:pt>
                <c:pt idx="1000">
                  <c:v>0.10567472309357462</c:v>
                </c:pt>
                <c:pt idx="1001">
                  <c:v>0.10786454889308406</c:v>
                </c:pt>
                <c:pt idx="1002">
                  <c:v>0.10637147523213653</c:v>
                </c:pt>
                <c:pt idx="1003">
                  <c:v>0.11911238604210195</c:v>
                </c:pt>
                <c:pt idx="1004">
                  <c:v>0.1202072600171562</c:v>
                </c:pt>
                <c:pt idx="1005">
                  <c:v>0.11463316505925958</c:v>
                </c:pt>
                <c:pt idx="1006">
                  <c:v>0.11463316505925958</c:v>
                </c:pt>
                <c:pt idx="1007">
                  <c:v>0.11463316505925958</c:v>
                </c:pt>
                <c:pt idx="1008">
                  <c:v>0.11791786483382327</c:v>
                </c:pt>
                <c:pt idx="1009">
                  <c:v>0.1156595315614719</c:v>
                </c:pt>
                <c:pt idx="1010">
                  <c:v>0.12639955706804962</c:v>
                </c:pt>
                <c:pt idx="1011">
                  <c:v>0.1228864471510791</c:v>
                </c:pt>
                <c:pt idx="1012">
                  <c:v>0.12077859677077707</c:v>
                </c:pt>
                <c:pt idx="1013">
                  <c:v>0.12077859677077707</c:v>
                </c:pt>
                <c:pt idx="1014">
                  <c:v>0.12077859677077707</c:v>
                </c:pt>
                <c:pt idx="1015">
                  <c:v>0.12790516448255107</c:v>
                </c:pt>
                <c:pt idx="1016">
                  <c:v>0.13252241245328977</c:v>
                </c:pt>
                <c:pt idx="1017">
                  <c:v>0.13252241245328977</c:v>
                </c:pt>
                <c:pt idx="1018">
                  <c:v>0.1302137106185195</c:v>
                </c:pt>
                <c:pt idx="1019">
                  <c:v>0.12569688837501491</c:v>
                </c:pt>
                <c:pt idx="1020">
                  <c:v>0.12569688837501491</c:v>
                </c:pt>
                <c:pt idx="1021">
                  <c:v>0.12569688837501491</c:v>
                </c:pt>
                <c:pt idx="1022">
                  <c:v>0.1267006785509499</c:v>
                </c:pt>
                <c:pt idx="1023">
                  <c:v>0.1301133627406863</c:v>
                </c:pt>
                <c:pt idx="1024">
                  <c:v>0.12880852893125194</c:v>
                </c:pt>
                <c:pt idx="1025">
                  <c:v>0.13041456207298752</c:v>
                </c:pt>
                <c:pt idx="1026">
                  <c:v>0.12820628596545136</c:v>
                </c:pt>
                <c:pt idx="1027">
                  <c:v>0.12820628596545136</c:v>
                </c:pt>
                <c:pt idx="1028">
                  <c:v>0.12820628596545136</c:v>
                </c:pt>
                <c:pt idx="1029">
                  <c:v>0.1301133627406863</c:v>
                </c:pt>
                <c:pt idx="1030">
                  <c:v>0.13613579239869256</c:v>
                </c:pt>
                <c:pt idx="1031">
                  <c:v>0.14436657601363567</c:v>
                </c:pt>
                <c:pt idx="1032">
                  <c:v>0.14436657601363567</c:v>
                </c:pt>
                <c:pt idx="1033">
                  <c:v>0.1508909007596091</c:v>
                </c:pt>
                <c:pt idx="1034">
                  <c:v>0.1508909007596091</c:v>
                </c:pt>
                <c:pt idx="1035">
                  <c:v>0.1508909007596091</c:v>
                </c:pt>
                <c:pt idx="1036">
                  <c:v>0.1508909007596091</c:v>
                </c:pt>
                <c:pt idx="1037">
                  <c:v>0.15058970142730788</c:v>
                </c:pt>
                <c:pt idx="1038">
                  <c:v>0.16233351710982058</c:v>
                </c:pt>
                <c:pt idx="1039">
                  <c:v>0.157816694866316</c:v>
                </c:pt>
                <c:pt idx="1040">
                  <c:v>0.16624817423692528</c:v>
                </c:pt>
                <c:pt idx="1041">
                  <c:v>0.16624817423692528</c:v>
                </c:pt>
                <c:pt idx="1042">
                  <c:v>0.16624817423692528</c:v>
                </c:pt>
                <c:pt idx="1043">
                  <c:v>0.16504361045592297</c:v>
                </c:pt>
                <c:pt idx="1044">
                  <c:v>0.17126681371899632</c:v>
                </c:pt>
                <c:pt idx="1045">
                  <c:v>0.15651178320748071</c:v>
                </c:pt>
                <c:pt idx="1046">
                  <c:v>0.14667512214960388</c:v>
                </c:pt>
                <c:pt idx="1047">
                  <c:v>0.13914700722769546</c:v>
                </c:pt>
                <c:pt idx="1048">
                  <c:v>0.13914700722769546</c:v>
                </c:pt>
                <c:pt idx="1049">
                  <c:v>0.13914700722769546</c:v>
                </c:pt>
                <c:pt idx="1050">
                  <c:v>0.1508909007596091</c:v>
                </c:pt>
                <c:pt idx="1051">
                  <c:v>0.14697616578310324</c:v>
                </c:pt>
                <c:pt idx="1052">
                  <c:v>0.12439205456558056</c:v>
                </c:pt>
                <c:pt idx="1053">
                  <c:v>0.11867066854107389</c:v>
                </c:pt>
                <c:pt idx="1054">
                  <c:v>0.13192009163808804</c:v>
                </c:pt>
                <c:pt idx="1055">
                  <c:v>0.13192009163808804</c:v>
                </c:pt>
                <c:pt idx="1056">
                  <c:v>0.13192009163808804</c:v>
                </c:pt>
                <c:pt idx="1057">
                  <c:v>0.13091637931155398</c:v>
                </c:pt>
                <c:pt idx="1058">
                  <c:v>0.12710214791168317</c:v>
                </c:pt>
                <c:pt idx="1059">
                  <c:v>0.1455709840958357</c:v>
                </c:pt>
                <c:pt idx="1060">
                  <c:v>0.1251949932870473</c:v>
                </c:pt>
                <c:pt idx="1061">
                  <c:v>0.10542124544405951</c:v>
                </c:pt>
                <c:pt idx="1062">
                  <c:v>0.10542124544405951</c:v>
                </c:pt>
                <c:pt idx="1063">
                  <c:v>0.10542124544405951</c:v>
                </c:pt>
                <c:pt idx="1064">
                  <c:v>0.07641307950899545</c:v>
                </c:pt>
                <c:pt idx="1065">
                  <c:v>0.0837404986752377</c:v>
                </c:pt>
                <c:pt idx="1066">
                  <c:v>0.08173299617276863</c:v>
                </c:pt>
                <c:pt idx="1067">
                  <c:v>0.10451795884475956</c:v>
                </c:pt>
                <c:pt idx="1068">
                  <c:v>0.10943625044899741</c:v>
                </c:pt>
                <c:pt idx="1069">
                  <c:v>0.10943625044899741</c:v>
                </c:pt>
                <c:pt idx="1070">
                  <c:v>0.10943625044899741</c:v>
                </c:pt>
                <c:pt idx="1071">
                  <c:v>0.11023926701986508</c:v>
                </c:pt>
                <c:pt idx="1072">
                  <c:v>0.12730284366734912</c:v>
                </c:pt>
                <c:pt idx="1073">
                  <c:v>0.13031413634575317</c:v>
                </c:pt>
                <c:pt idx="1074">
                  <c:v>0.14828115529133923</c:v>
                </c:pt>
                <c:pt idx="1075">
                  <c:v>0.1522960824468762</c:v>
                </c:pt>
                <c:pt idx="1076">
                  <c:v>0.1522960824468762</c:v>
                </c:pt>
                <c:pt idx="1077">
                  <c:v>0.1522960824468762</c:v>
                </c:pt>
                <c:pt idx="1078">
                  <c:v>0.1638391245243216</c:v>
                </c:pt>
                <c:pt idx="1079">
                  <c:v>0.16092825757315166</c:v>
                </c:pt>
                <c:pt idx="1080">
                  <c:v>0.16695068723115747</c:v>
                </c:pt>
                <c:pt idx="1081">
                  <c:v>0.1577162691390812</c:v>
                </c:pt>
                <c:pt idx="1082">
                  <c:v>0.17337466409929791</c:v>
                </c:pt>
                <c:pt idx="1083">
                  <c:v>0.17337466409929791</c:v>
                </c:pt>
                <c:pt idx="1084">
                  <c:v>0.17337466409929791</c:v>
                </c:pt>
                <c:pt idx="1085">
                  <c:v>0.16905853761145972</c:v>
                </c:pt>
                <c:pt idx="1086">
                  <c:v>0.17136708374742815</c:v>
                </c:pt>
                <c:pt idx="1087">
                  <c:v>0.16494318472868863</c:v>
                </c:pt>
                <c:pt idx="1088">
                  <c:v>0.16594705275402455</c:v>
                </c:pt>
                <c:pt idx="1089">
                  <c:v>0.1741776806701658</c:v>
                </c:pt>
                <c:pt idx="1090">
                  <c:v>0.1741776806701658</c:v>
                </c:pt>
                <c:pt idx="1091">
                  <c:v>0.1741776806701658</c:v>
                </c:pt>
                <c:pt idx="1092">
                  <c:v>0.1741776806701658</c:v>
                </c:pt>
                <c:pt idx="1093">
                  <c:v>0.15169376163167425</c:v>
                </c:pt>
                <c:pt idx="1094">
                  <c:v>0.14818072956410466</c:v>
                </c:pt>
                <c:pt idx="1095">
                  <c:v>0.1467755478768371</c:v>
                </c:pt>
                <c:pt idx="1096">
                  <c:v>0.12730284366734868</c:v>
                </c:pt>
                <c:pt idx="1097">
                  <c:v>0.12730284366734868</c:v>
                </c:pt>
                <c:pt idx="1098">
                  <c:v>0.12730284366734868</c:v>
                </c:pt>
                <c:pt idx="1099">
                  <c:v>0.13894631147202818</c:v>
                </c:pt>
                <c:pt idx="1100">
                  <c:v>0.14055226676436283</c:v>
                </c:pt>
                <c:pt idx="1101">
                  <c:v>0.15058970142730677</c:v>
                </c:pt>
                <c:pt idx="1102">
                  <c:v>0.16062705824085</c:v>
                </c:pt>
                <c:pt idx="1103">
                  <c:v>0.1664488699925908</c:v>
                </c:pt>
                <c:pt idx="1104">
                  <c:v>0.1664488699925908</c:v>
                </c:pt>
                <c:pt idx="1105">
                  <c:v>0.1664488699925908</c:v>
                </c:pt>
                <c:pt idx="1106">
                  <c:v>0.1704638749975289</c:v>
                </c:pt>
                <c:pt idx="1107">
                  <c:v>0.1692593112165266</c:v>
                </c:pt>
                <c:pt idx="1108">
                  <c:v>0.16594705275402433</c:v>
                </c:pt>
                <c:pt idx="1109">
                  <c:v>0.18672443507414527</c:v>
                </c:pt>
                <c:pt idx="1110">
                  <c:v>0.18200691707497452</c:v>
                </c:pt>
                <c:pt idx="1111">
                  <c:v>0.18200691707497452</c:v>
                </c:pt>
                <c:pt idx="1112">
                  <c:v>0.18200691707497452</c:v>
                </c:pt>
                <c:pt idx="1113">
                  <c:v>0.18652373931847888</c:v>
                </c:pt>
                <c:pt idx="1114">
                  <c:v>0.19465401935678694</c:v>
                </c:pt>
                <c:pt idx="1115">
                  <c:v>0.18963522417591405</c:v>
                </c:pt>
                <c:pt idx="1116">
                  <c:v>0.20288464727292843</c:v>
                </c:pt>
                <c:pt idx="1117">
                  <c:v>0.2000741281995917</c:v>
                </c:pt>
                <c:pt idx="1118">
                  <c:v>0.2000741281995917</c:v>
                </c:pt>
                <c:pt idx="1119">
                  <c:v>0.2000741281995917</c:v>
                </c:pt>
                <c:pt idx="1120">
                  <c:v>0.19997385817115965</c:v>
                </c:pt>
                <c:pt idx="1121">
                  <c:v>0.19234539537141804</c:v>
                </c:pt>
                <c:pt idx="1122">
                  <c:v>0.19515591444475477</c:v>
                </c:pt>
                <c:pt idx="1123">
                  <c:v>0.18923383266458194</c:v>
                </c:pt>
                <c:pt idx="1124">
                  <c:v>0.1992712673275261</c:v>
                </c:pt>
                <c:pt idx="1125">
                  <c:v>0.1992712673275261</c:v>
                </c:pt>
                <c:pt idx="1126">
                  <c:v>0.1992712673275261</c:v>
                </c:pt>
                <c:pt idx="1127">
                  <c:v>0.19174315240561746</c:v>
                </c:pt>
                <c:pt idx="1128">
                  <c:v>0.19485479296185448</c:v>
                </c:pt>
                <c:pt idx="1129">
                  <c:v>0.19977308456609255</c:v>
                </c:pt>
                <c:pt idx="1130">
                  <c:v>0.1985685986344914</c:v>
                </c:pt>
                <c:pt idx="1131">
                  <c:v>0.2060967135563998</c:v>
                </c:pt>
                <c:pt idx="1132">
                  <c:v>0.2060967135563998</c:v>
                </c:pt>
                <c:pt idx="1133">
                  <c:v>0.2060967135563998</c:v>
                </c:pt>
                <c:pt idx="1134">
                  <c:v>0.212319838970072</c:v>
                </c:pt>
                <c:pt idx="1135">
                  <c:v>0.19967273668825936</c:v>
                </c:pt>
                <c:pt idx="1136">
                  <c:v>0.20449068041466423</c:v>
                </c:pt>
                <c:pt idx="1137">
                  <c:v>0.20398878532669684</c:v>
                </c:pt>
                <c:pt idx="1138">
                  <c:v>0.21101500516063765</c:v>
                </c:pt>
                <c:pt idx="1139">
                  <c:v>0.21101500516063765</c:v>
                </c:pt>
                <c:pt idx="1140">
                  <c:v>0.21101500516063765</c:v>
                </c:pt>
                <c:pt idx="1141">
                  <c:v>0.20519327125829778</c:v>
                </c:pt>
                <c:pt idx="1142">
                  <c:v>0.20258352579002814</c:v>
                </c:pt>
                <c:pt idx="1143">
                  <c:v>0.19194392601068455</c:v>
                </c:pt>
                <c:pt idx="1144">
                  <c:v>0.19475436723462036</c:v>
                </c:pt>
                <c:pt idx="1145">
                  <c:v>0.19264651685431833</c:v>
                </c:pt>
                <c:pt idx="1146">
                  <c:v>0.19264651685431833</c:v>
                </c:pt>
                <c:pt idx="1147">
                  <c:v>0.19264651685431833</c:v>
                </c:pt>
                <c:pt idx="1148">
                  <c:v>0.19886972011739168</c:v>
                </c:pt>
                <c:pt idx="1149">
                  <c:v>0.1981671292737579</c:v>
                </c:pt>
                <c:pt idx="1150">
                  <c:v>0.19284729045938542</c:v>
                </c:pt>
                <c:pt idx="1151">
                  <c:v>0.17488034936320052</c:v>
                </c:pt>
                <c:pt idx="1152">
                  <c:v>0.1793971716067051</c:v>
                </c:pt>
                <c:pt idx="1153">
                  <c:v>0.1793971716067051</c:v>
                </c:pt>
                <c:pt idx="1154">
                  <c:v>0.1793971716067051</c:v>
                </c:pt>
                <c:pt idx="1155">
                  <c:v>0.17919639800163778</c:v>
                </c:pt>
                <c:pt idx="1156">
                  <c:v>0.1929476383372184</c:v>
                </c:pt>
                <c:pt idx="1157">
                  <c:v>0.2072006959113657</c:v>
                </c:pt>
                <c:pt idx="1158">
                  <c:v>0.22075131834068107</c:v>
                </c:pt>
                <c:pt idx="1159">
                  <c:v>0.21753932990661085</c:v>
                </c:pt>
                <c:pt idx="1160">
                  <c:v>0.21753932990661085</c:v>
                </c:pt>
                <c:pt idx="1161">
                  <c:v>0.21753932990661085</c:v>
                </c:pt>
                <c:pt idx="1162">
                  <c:v>0.2190449373211123</c:v>
                </c:pt>
                <c:pt idx="1163">
                  <c:v>0.21001129283410336</c:v>
                </c:pt>
                <c:pt idx="1164">
                  <c:v>0.20760224312149989</c:v>
                </c:pt>
                <c:pt idx="1165">
                  <c:v>0.20198136067362826</c:v>
                </c:pt>
                <c:pt idx="1166">
                  <c:v>0.19083978795691614</c:v>
                </c:pt>
                <c:pt idx="1167">
                  <c:v>0.19083978795691614</c:v>
                </c:pt>
                <c:pt idx="1168">
                  <c:v>0.19083978795691614</c:v>
                </c:pt>
                <c:pt idx="1169">
                  <c:v>0.1967618697370892</c:v>
                </c:pt>
                <c:pt idx="1170">
                  <c:v>0.20007412819959147</c:v>
                </c:pt>
                <c:pt idx="1171">
                  <c:v>0.20007412819959147</c:v>
                </c:pt>
                <c:pt idx="1172">
                  <c:v>0.20459102829249676</c:v>
                </c:pt>
                <c:pt idx="1173">
                  <c:v>0.20890715478033495</c:v>
                </c:pt>
                <c:pt idx="1174">
                  <c:v>0.20890715478033495</c:v>
                </c:pt>
                <c:pt idx="1175">
                  <c:v>0.20890715478033495</c:v>
                </c:pt>
                <c:pt idx="1176">
                  <c:v>0.21312285554093924</c:v>
                </c:pt>
                <c:pt idx="1177">
                  <c:v>0.21492966228774213</c:v>
                </c:pt>
                <c:pt idx="1178">
                  <c:v>0.21402621998964033</c:v>
                </c:pt>
                <c:pt idx="1179">
                  <c:v>0.21402621998964033</c:v>
                </c:pt>
                <c:pt idx="1180">
                  <c:v>0.22225684790578137</c:v>
                </c:pt>
                <c:pt idx="1181">
                  <c:v>0.22225684790578137</c:v>
                </c:pt>
                <c:pt idx="1182">
                  <c:v>0.22225684790578137</c:v>
                </c:pt>
                <c:pt idx="1183">
                  <c:v>0.22486659337405102</c:v>
                </c:pt>
                <c:pt idx="1184">
                  <c:v>0.22707486948158717</c:v>
                </c:pt>
                <c:pt idx="1185">
                  <c:v>0.2335991942275608</c:v>
                </c:pt>
                <c:pt idx="1186">
                  <c:v>0.23430186292059552</c:v>
                </c:pt>
                <c:pt idx="1187">
                  <c:v>0.2358074703350972</c:v>
                </c:pt>
                <c:pt idx="1188">
                  <c:v>0.2358074703350972</c:v>
                </c:pt>
                <c:pt idx="1189">
                  <c:v>0.2358074703350972</c:v>
                </c:pt>
                <c:pt idx="1190">
                  <c:v>0.23289660338392726</c:v>
                </c:pt>
                <c:pt idx="1191">
                  <c:v>0.22556926206708594</c:v>
                </c:pt>
                <c:pt idx="1192">
                  <c:v>0.23430186292059574</c:v>
                </c:pt>
                <c:pt idx="1193">
                  <c:v>0.22657297439362</c:v>
                </c:pt>
                <c:pt idx="1194">
                  <c:v>0.22516771485695175</c:v>
                </c:pt>
                <c:pt idx="1195">
                  <c:v>0.22516771485695175</c:v>
                </c:pt>
                <c:pt idx="1196">
                  <c:v>0.22516771485695175</c:v>
                </c:pt>
                <c:pt idx="1197">
                  <c:v>0.2276771124473882</c:v>
                </c:pt>
                <c:pt idx="1198">
                  <c:v>0.22297882325025364</c:v>
                </c:pt>
                <c:pt idx="1199">
                  <c:v>0.186627668268756</c:v>
                </c:pt>
                <c:pt idx="1200">
                  <c:v>0.1867288724899996</c:v>
                </c:pt>
                <c:pt idx="1201">
                  <c:v>0.19604456535667447</c:v>
                </c:pt>
                <c:pt idx="1202">
                  <c:v>0.19604456535667447</c:v>
                </c:pt>
                <c:pt idx="1203">
                  <c:v>0.19604456535667447</c:v>
                </c:pt>
                <c:pt idx="1204">
                  <c:v>0.20343628812810688</c:v>
                </c:pt>
                <c:pt idx="1205">
                  <c:v>0.21356192616233494</c:v>
                </c:pt>
                <c:pt idx="1206">
                  <c:v>0.21356192616233494</c:v>
                </c:pt>
                <c:pt idx="1207">
                  <c:v>0.2145745133205781</c:v>
                </c:pt>
                <c:pt idx="1208">
                  <c:v>0.20536018037394865</c:v>
                </c:pt>
                <c:pt idx="1209">
                  <c:v>0.20536018037394865</c:v>
                </c:pt>
                <c:pt idx="1210">
                  <c:v>0.20536018037394865</c:v>
                </c:pt>
                <c:pt idx="1211">
                  <c:v>0.19300680388194547</c:v>
                </c:pt>
                <c:pt idx="1212">
                  <c:v>0.18976663396472881</c:v>
                </c:pt>
                <c:pt idx="1213">
                  <c:v>0.18976663396472881</c:v>
                </c:pt>
                <c:pt idx="1214">
                  <c:v>0.18743769128570986</c:v>
                </c:pt>
                <c:pt idx="1215">
                  <c:v>0.19979098992831212</c:v>
                </c:pt>
                <c:pt idx="1216">
                  <c:v>0.19979098992831212</c:v>
                </c:pt>
                <c:pt idx="1217">
                  <c:v>0.19979098992831212</c:v>
                </c:pt>
                <c:pt idx="1218">
                  <c:v>0.20809409563674386</c:v>
                </c:pt>
                <c:pt idx="1219">
                  <c:v>0.19644961578985187</c:v>
                </c:pt>
                <c:pt idx="1220">
                  <c:v>0.1965508200110957</c:v>
                </c:pt>
                <c:pt idx="1221">
                  <c:v>0.1965508200110957</c:v>
                </c:pt>
                <c:pt idx="1222">
                  <c:v>0.17832464040972495</c:v>
                </c:pt>
                <c:pt idx="1223">
                  <c:v>0.17832464040972495</c:v>
                </c:pt>
                <c:pt idx="1224">
                  <c:v>0.17832464040972495</c:v>
                </c:pt>
                <c:pt idx="1225">
                  <c:v>0.17812207626843568</c:v>
                </c:pt>
                <c:pt idx="1226">
                  <c:v>0.18146352825629686</c:v>
                </c:pt>
                <c:pt idx="1227">
                  <c:v>0.20070237286531145</c:v>
                </c:pt>
                <c:pt idx="1228">
                  <c:v>0.20080357708655505</c:v>
                </c:pt>
                <c:pt idx="1229">
                  <c:v>0.2110304971914274</c:v>
                </c:pt>
                <c:pt idx="1230">
                  <c:v>0.2110304971914274</c:v>
                </c:pt>
                <c:pt idx="1231">
                  <c:v>0.2110304971914274</c:v>
                </c:pt>
                <c:pt idx="1232">
                  <c:v>0.2110304971914274</c:v>
                </c:pt>
                <c:pt idx="1233">
                  <c:v>0.22480143342545023</c:v>
                </c:pt>
                <c:pt idx="1234">
                  <c:v>0.22925675464219886</c:v>
                </c:pt>
                <c:pt idx="1235">
                  <c:v>0.23604094068856574</c:v>
                </c:pt>
                <c:pt idx="1236">
                  <c:v>0.2359396586179212</c:v>
                </c:pt>
                <c:pt idx="1237">
                  <c:v>0.2359396586179212</c:v>
                </c:pt>
                <c:pt idx="1238">
                  <c:v>0.2359396586179212</c:v>
                </c:pt>
                <c:pt idx="1239">
                  <c:v>0.2211562130750564</c:v>
                </c:pt>
                <c:pt idx="1240">
                  <c:v>0.22925675464219886</c:v>
                </c:pt>
                <c:pt idx="1241">
                  <c:v>0.2256115342918048</c:v>
                </c:pt>
                <c:pt idx="1242">
                  <c:v>0.23502835353032236</c:v>
                </c:pt>
                <c:pt idx="1243">
                  <c:v>0.22713037610446896</c:v>
                </c:pt>
                <c:pt idx="1244">
                  <c:v>0.22713037610446896</c:v>
                </c:pt>
                <c:pt idx="1245">
                  <c:v>0.22713037610446896</c:v>
                </c:pt>
                <c:pt idx="1246">
                  <c:v>0.21720714651272832</c:v>
                </c:pt>
                <c:pt idx="1247">
                  <c:v>0.2282441674839557</c:v>
                </c:pt>
                <c:pt idx="1248">
                  <c:v>0.2342183305133687</c:v>
                </c:pt>
                <c:pt idx="1249">
                  <c:v>0.2384710875888283</c:v>
                </c:pt>
                <c:pt idx="1250">
                  <c:v>0.22854793584648858</c:v>
                </c:pt>
                <c:pt idx="1251">
                  <c:v>0.22854793584648858</c:v>
                </c:pt>
                <c:pt idx="1252">
                  <c:v>0.22854793584648858</c:v>
                </c:pt>
                <c:pt idx="1253">
                  <c:v>0.2384710875888283</c:v>
                </c:pt>
                <c:pt idx="1254">
                  <c:v>0.23867365173011756</c:v>
                </c:pt>
                <c:pt idx="1255">
                  <c:v>0.2375597825012299</c:v>
                </c:pt>
                <c:pt idx="1256">
                  <c:v>0.25193825546031823</c:v>
                </c:pt>
                <c:pt idx="1257">
                  <c:v>0.2517357691684301</c:v>
                </c:pt>
                <c:pt idx="1258">
                  <c:v>0.2517357691684301</c:v>
                </c:pt>
                <c:pt idx="1259">
                  <c:v>0.2517357691684301</c:v>
                </c:pt>
                <c:pt idx="1260">
                  <c:v>0.2517357691684301</c:v>
                </c:pt>
                <c:pt idx="1261">
                  <c:v>0.2568998313314881</c:v>
                </c:pt>
                <c:pt idx="1262">
                  <c:v>0.25538098951882393</c:v>
                </c:pt>
                <c:pt idx="1263">
                  <c:v>0.2536595835648705</c:v>
                </c:pt>
                <c:pt idx="1264">
                  <c:v>0.23664847741363126</c:v>
                </c:pt>
                <c:pt idx="1265">
                  <c:v>0.23664847741363126</c:v>
                </c:pt>
                <c:pt idx="1266">
                  <c:v>0.23664847741363126</c:v>
                </c:pt>
                <c:pt idx="1267">
                  <c:v>0.23006685550855366</c:v>
                </c:pt>
                <c:pt idx="1268">
                  <c:v>0.2281429632627121</c:v>
                </c:pt>
                <c:pt idx="1269">
                  <c:v>0.23047175024292899</c:v>
                </c:pt>
                <c:pt idx="1270">
                  <c:v>0.21173931598713747</c:v>
                </c:pt>
                <c:pt idx="1271">
                  <c:v>0.22348515575407513</c:v>
                </c:pt>
                <c:pt idx="1272">
                  <c:v>0.22348515575407513</c:v>
                </c:pt>
                <c:pt idx="1273">
                  <c:v>0.22348515575407513</c:v>
                </c:pt>
                <c:pt idx="1274">
                  <c:v>0.2105242425370062</c:v>
                </c:pt>
                <c:pt idx="1275">
                  <c:v>0.20171488217415323</c:v>
                </c:pt>
                <c:pt idx="1276">
                  <c:v>0.22075116264187855</c:v>
                </c:pt>
                <c:pt idx="1277">
                  <c:v>0.20191736846604136</c:v>
                </c:pt>
                <c:pt idx="1278">
                  <c:v>0.21001798788258497</c:v>
                </c:pt>
                <c:pt idx="1279">
                  <c:v>0.21001798788258497</c:v>
                </c:pt>
                <c:pt idx="1280">
                  <c:v>0.21001798788258497</c:v>
                </c:pt>
                <c:pt idx="1281">
                  <c:v>0.1787296908429019</c:v>
                </c:pt>
                <c:pt idx="1282">
                  <c:v>0.17255296367219985</c:v>
                </c:pt>
                <c:pt idx="1283">
                  <c:v>0.17953963601045486</c:v>
                </c:pt>
                <c:pt idx="1284">
                  <c:v>0.16607254598836585</c:v>
                </c:pt>
                <c:pt idx="1285">
                  <c:v>0.18926030146090622</c:v>
                </c:pt>
                <c:pt idx="1286">
                  <c:v>0.18926030146090622</c:v>
                </c:pt>
                <c:pt idx="1287">
                  <c:v>0.18926030146090622</c:v>
                </c:pt>
                <c:pt idx="1288">
                  <c:v>0.2011074232984884</c:v>
                </c:pt>
                <c:pt idx="1289">
                  <c:v>0.19250054922752358</c:v>
                </c:pt>
                <c:pt idx="1290">
                  <c:v>0.20222121467797494</c:v>
                </c:pt>
                <c:pt idx="1291">
                  <c:v>0.19715835673616056</c:v>
                </c:pt>
                <c:pt idx="1292">
                  <c:v>0.1946270056146544</c:v>
                </c:pt>
                <c:pt idx="1293">
                  <c:v>0.1946270056146544</c:v>
                </c:pt>
                <c:pt idx="1294">
                  <c:v>0.1946270056146544</c:v>
                </c:pt>
                <c:pt idx="1295">
                  <c:v>0.21214436642031465</c:v>
                </c:pt>
                <c:pt idx="1296">
                  <c:v>0.21275182529597947</c:v>
                </c:pt>
                <c:pt idx="1297">
                  <c:v>0.19938593949513428</c:v>
                </c:pt>
                <c:pt idx="1298">
                  <c:v>0.197664611390582</c:v>
                </c:pt>
                <c:pt idx="1299">
                  <c:v>0.17700820703954778</c:v>
                </c:pt>
                <c:pt idx="1300">
                  <c:v>0.17700820703954778</c:v>
                </c:pt>
                <c:pt idx="1301">
                  <c:v>0.17700820703954778</c:v>
                </c:pt>
                <c:pt idx="1302">
                  <c:v>0.17852712670161286</c:v>
                </c:pt>
                <c:pt idx="1303">
                  <c:v>0.18267867955582862</c:v>
                </c:pt>
                <c:pt idx="1304">
                  <c:v>0.18875404680648522</c:v>
                </c:pt>
                <c:pt idx="1305">
                  <c:v>0.14328984094900288</c:v>
                </c:pt>
                <c:pt idx="1306">
                  <c:v>0.07332136839940229</c:v>
                </c:pt>
                <c:pt idx="1307">
                  <c:v>0.07332136839940229</c:v>
                </c:pt>
                <c:pt idx="1308">
                  <c:v>0.07332136839940229</c:v>
                </c:pt>
                <c:pt idx="1309">
                  <c:v>0.06289196200264158</c:v>
                </c:pt>
                <c:pt idx="1310">
                  <c:v>0.04891846162732971</c:v>
                </c:pt>
                <c:pt idx="1311">
                  <c:v>0.14116338456187227</c:v>
                </c:pt>
                <c:pt idx="1312">
                  <c:v>0.10622978932239424</c:v>
                </c:pt>
                <c:pt idx="1313">
                  <c:v>0.12496230142758669</c:v>
                </c:pt>
                <c:pt idx="1314">
                  <c:v>0.12496230142758669</c:v>
                </c:pt>
                <c:pt idx="1315">
                  <c:v>0.12496230142758669</c:v>
                </c:pt>
                <c:pt idx="1316">
                  <c:v>0.14065712990745083</c:v>
                </c:pt>
                <c:pt idx="1317">
                  <c:v>0.14136587085376018</c:v>
                </c:pt>
                <c:pt idx="1318">
                  <c:v>0.12324097332303419</c:v>
                </c:pt>
                <c:pt idx="1319">
                  <c:v>0.127999985052915</c:v>
                </c:pt>
                <c:pt idx="1320">
                  <c:v>0.127999985052915</c:v>
                </c:pt>
                <c:pt idx="1321">
                  <c:v>0.127999985052915</c:v>
                </c:pt>
                <c:pt idx="1322">
                  <c:v>0.127999985052915</c:v>
                </c:pt>
                <c:pt idx="1323">
                  <c:v>0.10977380545154447</c:v>
                </c:pt>
                <c:pt idx="1324">
                  <c:v>0.13478417109928187</c:v>
                </c:pt>
                <c:pt idx="1325">
                  <c:v>0.1486563894039492</c:v>
                </c:pt>
                <c:pt idx="1326">
                  <c:v>0.16961656211751608</c:v>
                </c:pt>
                <c:pt idx="1327">
                  <c:v>0.17640074816388274</c:v>
                </c:pt>
                <c:pt idx="1328">
                  <c:v>0.17640074816388274</c:v>
                </c:pt>
                <c:pt idx="1329">
                  <c:v>0.17640074816388274</c:v>
                </c:pt>
                <c:pt idx="1330">
                  <c:v>0.17862840877225716</c:v>
                </c:pt>
                <c:pt idx="1331">
                  <c:v>0.18460249395226924</c:v>
                </c:pt>
                <c:pt idx="1332">
                  <c:v>0.18460249395226924</c:v>
                </c:pt>
                <c:pt idx="1333">
                  <c:v>0.18895653309837357</c:v>
                </c:pt>
                <c:pt idx="1334">
                  <c:v>0.20910668279498656</c:v>
                </c:pt>
                <c:pt idx="1335">
                  <c:v>0.20910668279498656</c:v>
                </c:pt>
                <c:pt idx="1336">
                  <c:v>0.20910668279498656</c:v>
                </c:pt>
                <c:pt idx="1337">
                  <c:v>0.20667645804532309</c:v>
                </c:pt>
                <c:pt idx="1338">
                  <c:v>0.19968978570706808</c:v>
                </c:pt>
                <c:pt idx="1339">
                  <c:v>0.20070237286531123</c:v>
                </c:pt>
                <c:pt idx="1340">
                  <c:v>0.20465136157823793</c:v>
                </c:pt>
                <c:pt idx="1341">
                  <c:v>0.2062714076121459</c:v>
                </c:pt>
                <c:pt idx="1342">
                  <c:v>0.2062714076121459</c:v>
                </c:pt>
                <c:pt idx="1343">
                  <c:v>0.2062714076121459</c:v>
                </c:pt>
                <c:pt idx="1344">
                  <c:v>0.23563589025538856</c:v>
                </c:pt>
                <c:pt idx="1345">
                  <c:v>0.2422175900098671</c:v>
                </c:pt>
                <c:pt idx="1346">
                  <c:v>0.24333145923875454</c:v>
                </c:pt>
                <c:pt idx="1347">
                  <c:v>0.2500143632144769</c:v>
                </c:pt>
                <c:pt idx="1348">
                  <c:v>0.2559885262438897</c:v>
                </c:pt>
                <c:pt idx="1349">
                  <c:v>0.2559885262438897</c:v>
                </c:pt>
                <c:pt idx="1350">
                  <c:v>0.2559885262438897</c:v>
                </c:pt>
                <c:pt idx="1351">
                  <c:v>0.2599375149568164</c:v>
                </c:pt>
                <c:pt idx="1352">
                  <c:v>0.25851995521479676</c:v>
                </c:pt>
                <c:pt idx="1353">
                  <c:v>0.24292640880557692</c:v>
                </c:pt>
                <c:pt idx="1354">
                  <c:v>0.24221759000986665</c:v>
                </c:pt>
                <c:pt idx="1355">
                  <c:v>0.23836988336758447</c:v>
                </c:pt>
                <c:pt idx="1356">
                  <c:v>0.23836988336758447</c:v>
                </c:pt>
                <c:pt idx="1357">
                  <c:v>0.23836988336758447</c:v>
                </c:pt>
                <c:pt idx="1358">
                  <c:v>0.23836988336758447</c:v>
                </c:pt>
                <c:pt idx="1359">
                  <c:v>0.2591274919398623</c:v>
                </c:pt>
                <c:pt idx="1360">
                  <c:v>0.2501156452851212</c:v>
                </c:pt>
                <c:pt idx="1361">
                  <c:v>0.2546722485725146</c:v>
                </c:pt>
                <c:pt idx="1362">
                  <c:v>0.25203953753096275</c:v>
                </c:pt>
                <c:pt idx="1363">
                  <c:v>0.25203953753096275</c:v>
                </c:pt>
                <c:pt idx="1364">
                  <c:v>0.25203953753096275</c:v>
                </c:pt>
                <c:pt idx="1365">
                  <c:v>0.26135515254823694</c:v>
                </c:pt>
                <c:pt idx="1366">
                  <c:v>0.26419027203227596</c:v>
                </c:pt>
                <c:pt idx="1367">
                  <c:v>0.26743051979889354</c:v>
                </c:pt>
                <c:pt idx="1368">
                  <c:v>0.2636840952272561</c:v>
                </c:pt>
                <c:pt idx="1369">
                  <c:v>0.27340468282830654</c:v>
                </c:pt>
                <c:pt idx="1370">
                  <c:v>0.27340468282830654</c:v>
                </c:pt>
                <c:pt idx="1371">
                  <c:v>0.27340468282830654</c:v>
                </c:pt>
                <c:pt idx="1372">
                  <c:v>0.2750247288622143</c:v>
                </c:pt>
                <c:pt idx="1373">
                  <c:v>0.2811001739622718</c:v>
                </c:pt>
                <c:pt idx="1374">
                  <c:v>0.27937884585771955</c:v>
                </c:pt>
                <c:pt idx="1375">
                  <c:v>0.284441625950133</c:v>
                </c:pt>
                <c:pt idx="1376">
                  <c:v>0.26965818040726797</c:v>
                </c:pt>
                <c:pt idx="1377">
                  <c:v>0.26965818040726797</c:v>
                </c:pt>
                <c:pt idx="1378">
                  <c:v>0.26965818040726797</c:v>
                </c:pt>
                <c:pt idx="1379">
                  <c:v>0.2807905668946671</c:v>
                </c:pt>
                <c:pt idx="1380">
                  <c:v>0.2678316777620231</c:v>
                </c:pt>
                <c:pt idx="1381">
                  <c:v>0.26823984217123864</c:v>
                </c:pt>
                <c:pt idx="1382">
                  <c:v>0.26823984217123864</c:v>
                </c:pt>
                <c:pt idx="1383">
                  <c:v>0.262627678856274</c:v>
                </c:pt>
                <c:pt idx="1384">
                  <c:v>0.262627678856274</c:v>
                </c:pt>
                <c:pt idx="1385">
                  <c:v>0.262627678856274</c:v>
                </c:pt>
                <c:pt idx="1386">
                  <c:v>0.27395398820145633</c:v>
                </c:pt>
                <c:pt idx="1387">
                  <c:v>0.2907904002969488</c:v>
                </c:pt>
                <c:pt idx="1388">
                  <c:v>0.2898720887632642</c:v>
                </c:pt>
                <c:pt idx="1389">
                  <c:v>0.3006881731345765</c:v>
                </c:pt>
                <c:pt idx="1390">
                  <c:v>0.3065043018800475</c:v>
                </c:pt>
                <c:pt idx="1391">
                  <c:v>0.3065043018800475</c:v>
                </c:pt>
                <c:pt idx="1392">
                  <c:v>0.3065043018800475</c:v>
                </c:pt>
                <c:pt idx="1393">
                  <c:v>0.3122186036090673</c:v>
                </c:pt>
                <c:pt idx="1394">
                  <c:v>0.31150425750588906</c:v>
                </c:pt>
                <c:pt idx="1395">
                  <c:v>0.3168103169762919</c:v>
                </c:pt>
                <c:pt idx="1396">
                  <c:v>0.3243610860738788</c:v>
                </c:pt>
                <c:pt idx="1397">
                  <c:v>0.3243610860738788</c:v>
                </c:pt>
                <c:pt idx="1398">
                  <c:v>0.3243610860738788</c:v>
                </c:pt>
                <c:pt idx="1399">
                  <c:v>0.3243610860738788</c:v>
                </c:pt>
                <c:pt idx="1400">
                  <c:v>0.3128308112981901</c:v>
                </c:pt>
                <c:pt idx="1401">
                  <c:v>0.315075676624176</c:v>
                </c:pt>
                <c:pt idx="1402">
                  <c:v>0.3222183591619481</c:v>
                </c:pt>
                <c:pt idx="1403">
                  <c:v>0.32497344946180373</c:v>
                </c:pt>
                <c:pt idx="1404">
                  <c:v>0.3183408361990996</c:v>
                </c:pt>
                <c:pt idx="1405">
                  <c:v>0.3183408361990996</c:v>
                </c:pt>
                <c:pt idx="1406">
                  <c:v>0.3183408361990996</c:v>
                </c:pt>
                <c:pt idx="1407">
                  <c:v>0.32017761496527064</c:v>
                </c:pt>
                <c:pt idx="1408">
                  <c:v>0.31466743436555933</c:v>
                </c:pt>
                <c:pt idx="1409">
                  <c:v>0.3197693727066542</c:v>
                </c:pt>
                <c:pt idx="1410">
                  <c:v>0.32507543217705703</c:v>
                </c:pt>
                <c:pt idx="1411">
                  <c:v>0.3240549822293175</c:v>
                </c:pt>
                <c:pt idx="1412">
                  <c:v>0.3240549822293175</c:v>
                </c:pt>
                <c:pt idx="1413">
                  <c:v>0.3240549822293175</c:v>
                </c:pt>
                <c:pt idx="1414">
                  <c:v>0.3278305224769127</c:v>
                </c:pt>
                <c:pt idx="1415">
                  <c:v>0.3300753878028986</c:v>
                </c:pt>
                <c:pt idx="1416">
                  <c:v>0.3458912721012506</c:v>
                </c:pt>
                <c:pt idx="1417">
                  <c:v>0.3431363375001968</c:v>
                </c:pt>
                <c:pt idx="1418">
                  <c:v>0.345687306670744</c:v>
                </c:pt>
                <c:pt idx="1419">
                  <c:v>0.345687306670744</c:v>
                </c:pt>
                <c:pt idx="1420">
                  <c:v>0.345687306670744</c:v>
                </c:pt>
                <c:pt idx="1421">
                  <c:v>0.3396669010971629</c:v>
                </c:pt>
                <c:pt idx="1422">
                  <c:v>0.33721807034067064</c:v>
                </c:pt>
                <c:pt idx="1423">
                  <c:v>0.3327283396886991</c:v>
                </c:pt>
                <c:pt idx="1424">
                  <c:v>0.3260958821247968</c:v>
                </c:pt>
                <c:pt idx="1425">
                  <c:v>0.3093615305939583</c:v>
                </c:pt>
                <c:pt idx="1426">
                  <c:v>0.3093615305939583</c:v>
                </c:pt>
                <c:pt idx="1427">
                  <c:v>0.3093615305939583</c:v>
                </c:pt>
                <c:pt idx="1428">
                  <c:v>0.3282386090367273</c:v>
                </c:pt>
                <c:pt idx="1429">
                  <c:v>0.32456520720318704</c:v>
                </c:pt>
                <c:pt idx="1430">
                  <c:v>0.33446298004081476</c:v>
                </c:pt>
                <c:pt idx="1431">
                  <c:v>0.33762615690048503</c:v>
                </c:pt>
                <c:pt idx="1432">
                  <c:v>0.3454831855414353</c:v>
                </c:pt>
                <c:pt idx="1433">
                  <c:v>0.3454831855414353</c:v>
                </c:pt>
                <c:pt idx="1434">
                  <c:v>0.3454831855414353</c:v>
                </c:pt>
                <c:pt idx="1435">
                  <c:v>0.34191176642314836</c:v>
                </c:pt>
                <c:pt idx="1436">
                  <c:v>0.3566053737573094</c:v>
                </c:pt>
                <c:pt idx="1437">
                  <c:v>0.36282974476139707</c:v>
                </c:pt>
                <c:pt idx="1438">
                  <c:v>0.36068701784946633</c:v>
                </c:pt>
                <c:pt idx="1439">
                  <c:v>0.36099312169402786</c:v>
                </c:pt>
                <c:pt idx="1440">
                  <c:v>0.36099312169402786</c:v>
                </c:pt>
                <c:pt idx="1441">
                  <c:v>0.36099312169402786</c:v>
                </c:pt>
                <c:pt idx="1442">
                  <c:v>0.3612992255385894</c:v>
                </c:pt>
                <c:pt idx="1443">
                  <c:v>0.3540544045867622</c:v>
                </c:pt>
                <c:pt idx="1444">
                  <c:v>0.3525238853639545</c:v>
                </c:pt>
                <c:pt idx="1445">
                  <c:v>0.34731980860880474</c:v>
                </c:pt>
                <c:pt idx="1446">
                  <c:v>0.3695643407393543</c:v>
                </c:pt>
                <c:pt idx="1447">
                  <c:v>0.3695643407393543</c:v>
                </c:pt>
                <c:pt idx="1448">
                  <c:v>0.3695643407393543</c:v>
                </c:pt>
                <c:pt idx="1449">
                  <c:v>0.3606870178494661</c:v>
                </c:pt>
                <c:pt idx="1450">
                  <c:v>0.36354409086457484</c:v>
                </c:pt>
                <c:pt idx="1451">
                  <c:v>0.36405416013964276</c:v>
                </c:pt>
                <c:pt idx="1452">
                  <c:v>0.36956434073935407</c:v>
                </c:pt>
                <c:pt idx="1453">
                  <c:v>0.3616053293831507</c:v>
                </c:pt>
                <c:pt idx="1454">
                  <c:v>0.3616053293831507</c:v>
                </c:pt>
                <c:pt idx="1455">
                  <c:v>0.3616053293831507</c:v>
                </c:pt>
                <c:pt idx="1456">
                  <c:v>0.3616053293831507</c:v>
                </c:pt>
                <c:pt idx="1457">
                  <c:v>0.3520136603900843</c:v>
                </c:pt>
                <c:pt idx="1458">
                  <c:v>0.357727806420302</c:v>
                </c:pt>
                <c:pt idx="1459">
                  <c:v>0.3668092504394982</c:v>
                </c:pt>
                <c:pt idx="1460">
                  <c:v>0.3680338215165464</c:v>
                </c:pt>
                <c:pt idx="1461">
                  <c:v>0.3680338215165464</c:v>
                </c:pt>
                <c:pt idx="1462">
                  <c:v>0.3680338215165464</c:v>
                </c:pt>
                <c:pt idx="1463">
                  <c:v>0.3746662790804489</c:v>
                </c:pt>
                <c:pt idx="1464">
                  <c:v>0.37670702327712635</c:v>
                </c:pt>
                <c:pt idx="1465">
                  <c:v>0.37976821742154376</c:v>
                </c:pt>
                <c:pt idx="1466">
                  <c:v>0.39333939209271174</c:v>
                </c:pt>
                <c:pt idx="1467">
                  <c:v>0.3912986478960343</c:v>
                </c:pt>
                <c:pt idx="1468">
                  <c:v>0.3912986478960343</c:v>
                </c:pt>
                <c:pt idx="1469">
                  <c:v>0.3912986478960343</c:v>
                </c:pt>
                <c:pt idx="1470">
                  <c:v>0.4003800919152305</c:v>
                </c:pt>
                <c:pt idx="1471">
                  <c:v>0.39895155540767613</c:v>
                </c:pt>
                <c:pt idx="1472">
                  <c:v>0.39762500161537484</c:v>
                </c:pt>
                <c:pt idx="1473">
                  <c:v>0.40344113036084583</c:v>
                </c:pt>
                <c:pt idx="1474">
                  <c:v>0.4056859956868317</c:v>
                </c:pt>
                <c:pt idx="1475">
                  <c:v>0.4056859956868317</c:v>
                </c:pt>
                <c:pt idx="1476">
                  <c:v>0.4056859956868317</c:v>
                </c:pt>
                <c:pt idx="1477">
                  <c:v>0.41231860894953587</c:v>
                </c:pt>
                <c:pt idx="1478">
                  <c:v>0.407012549479133</c:v>
                </c:pt>
                <c:pt idx="1479">
                  <c:v>0.4009922996043538</c:v>
                </c:pt>
                <c:pt idx="1480">
                  <c:v>0.3940535824970881</c:v>
                </c:pt>
                <c:pt idx="1481">
                  <c:v>0.4014003861641686</c:v>
                </c:pt>
                <c:pt idx="1482">
                  <c:v>0.4014003861641686</c:v>
                </c:pt>
                <c:pt idx="1483">
                  <c:v>0.4014003861641686</c:v>
                </c:pt>
                <c:pt idx="1484">
                  <c:v>0.4048696668684004</c:v>
                </c:pt>
                <c:pt idx="1485">
                  <c:v>0.4105839685974202</c:v>
                </c:pt>
              </c:numCache>
            </c:numRef>
          </c:val>
          <c:smooth val="0"/>
          <c:extLst>
            <c:ext xmlns:c16="http://schemas.microsoft.com/office/drawing/2014/chart" uri="{C3380CC4-5D6E-409C-BE32-E72D297353CC}">
              <c16:uniqueId val="{00000001-1D55-4091-B462-1B341D70D85C}"/>
            </c:ext>
          </c:extLst>
        </c:ser>
        <c:ser>
          <c:idx val="2"/>
          <c:order val="2"/>
          <c:tx>
            <c:strRef>
              <c:f>Sheet1!$D$1</c:f>
              <c:strCache>
                <c:ptCount val="1"/>
                <c:pt idx="0">
                  <c:v>Porfolio return ZMW</c:v>
                </c:pt>
              </c:strCache>
            </c:strRef>
          </c:tx>
          <c:spPr>
            <a:ln w="12700" cap="rnd">
              <a:solidFill>
                <a:schemeClr val="accent1">
                  <a:lumMod val="20000"/>
                  <a:lumOff val="80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D$2:$D$1487</c:f>
              <c:numCache>
                <c:formatCode>General</c:formatCode>
                <c:ptCount val="1486"/>
                <c:pt idx="0">
                  <c:v>0.0</c:v>
                </c:pt>
                <c:pt idx="1">
                  <c:v>-0.007634244642889643</c:v>
                </c:pt>
                <c:pt idx="2">
                  <c:v>-0.019533001447581078</c:v>
                </c:pt>
                <c:pt idx="3">
                  <c:v>-0.020884177730891018</c:v>
                </c:pt>
                <c:pt idx="4">
                  <c:v>-0.019635927337207426</c:v>
                </c:pt>
                <c:pt idx="5">
                  <c:v>-0.019635927337207426</c:v>
                </c:pt>
                <c:pt idx="6">
                  <c:v>-0.019635927337207426</c:v>
                </c:pt>
                <c:pt idx="7">
                  <c:v>-0.0272317677195546</c:v>
                </c:pt>
                <c:pt idx="8">
                  <c:v>-0.028970608033483503</c:v>
                </c:pt>
                <c:pt idx="9">
                  <c:v>-0.019391066204796026</c:v>
                </c:pt>
                <c:pt idx="10">
                  <c:v>-0.026537039003138085</c:v>
                </c:pt>
                <c:pt idx="11">
                  <c:v>-0.03985621066469369</c:v>
                </c:pt>
                <c:pt idx="12">
                  <c:v>-0.03985621066469369</c:v>
                </c:pt>
                <c:pt idx="13">
                  <c:v>-0.03985621066469369</c:v>
                </c:pt>
                <c:pt idx="14">
                  <c:v>-0.0671797050471401</c:v>
                </c:pt>
                <c:pt idx="15">
                  <c:v>-0.06393017199619555</c:v>
                </c:pt>
                <c:pt idx="16">
                  <c:v>-0.046921427028216445</c:v>
                </c:pt>
                <c:pt idx="17">
                  <c:v>-0.03121740356580749</c:v>
                </c:pt>
                <c:pt idx="18">
                  <c:v>-0.030966904074893442</c:v>
                </c:pt>
                <c:pt idx="19">
                  <c:v>-0.030966904074893442</c:v>
                </c:pt>
                <c:pt idx="20">
                  <c:v>-0.030966904074893442</c:v>
                </c:pt>
                <c:pt idx="21">
                  <c:v>-0.037355147739076444</c:v>
                </c:pt>
                <c:pt idx="22">
                  <c:v>-0.04898080053082632</c:v>
                </c:pt>
                <c:pt idx="23">
                  <c:v>-0.048843738621658916</c:v>
                </c:pt>
                <c:pt idx="24">
                  <c:v>-0.05023902473561215</c:v>
                </c:pt>
                <c:pt idx="25">
                  <c:v>-0.04586441543331343</c:v>
                </c:pt>
                <c:pt idx="26">
                  <c:v>-0.04586441543331343</c:v>
                </c:pt>
                <c:pt idx="27">
                  <c:v>-0.04586441543331343</c:v>
                </c:pt>
                <c:pt idx="28">
                  <c:v>-0.06135975835924723</c:v>
                </c:pt>
                <c:pt idx="29">
                  <c:v>-0.04312354653310857</c:v>
                </c:pt>
                <c:pt idx="30">
                  <c:v>-0.04200617617300495</c:v>
                </c:pt>
                <c:pt idx="31">
                  <c:v>-0.021796715240537723</c:v>
                </c:pt>
                <c:pt idx="32">
                  <c:v>-0.019158047744242235</c:v>
                </c:pt>
                <c:pt idx="33">
                  <c:v>-0.019158047744242235</c:v>
                </c:pt>
                <c:pt idx="34">
                  <c:v>-0.019158047744242235</c:v>
                </c:pt>
                <c:pt idx="35">
                  <c:v>-0.01260603735841237</c:v>
                </c:pt>
                <c:pt idx="36">
                  <c:v>-0.016567721229146626</c:v>
                </c:pt>
                <c:pt idx="37">
                  <c:v>-0.008597450775082338</c:v>
                </c:pt>
                <c:pt idx="38">
                  <c:v>0.001851494475414217</c:v>
                </c:pt>
                <c:pt idx="39">
                  <c:v>0.02764370102880931</c:v>
                </c:pt>
                <c:pt idx="40">
                  <c:v>0.02764370102880931</c:v>
                </c:pt>
                <c:pt idx="41">
                  <c:v>0.02764370102880931</c:v>
                </c:pt>
                <c:pt idx="42">
                  <c:v>0.05245970967057989</c:v>
                </c:pt>
                <c:pt idx="43">
                  <c:v>0.046544504312662216</c:v>
                </c:pt>
                <c:pt idx="44">
                  <c:v>0.06328325528787504</c:v>
                </c:pt>
                <c:pt idx="45">
                  <c:v>0.05978095413686546</c:v>
                </c:pt>
                <c:pt idx="46">
                  <c:v>0.056849291551829495</c:v>
                </c:pt>
                <c:pt idx="47">
                  <c:v>0.056849291551829495</c:v>
                </c:pt>
                <c:pt idx="48">
                  <c:v>0.056849291551829495</c:v>
                </c:pt>
                <c:pt idx="49">
                  <c:v>0.06818924101547408</c:v>
                </c:pt>
                <c:pt idx="50">
                  <c:v>0.07442662663209831</c:v>
                </c:pt>
                <c:pt idx="51">
                  <c:v>0.05752766288988198</c:v>
                </c:pt>
                <c:pt idx="52">
                  <c:v>0.06948443470820953</c:v>
                </c:pt>
                <c:pt idx="53">
                  <c:v>0.07855809567000516</c:v>
                </c:pt>
                <c:pt idx="54">
                  <c:v>0.07855809567000516</c:v>
                </c:pt>
                <c:pt idx="55">
                  <c:v>0.07855809567000516</c:v>
                </c:pt>
                <c:pt idx="56">
                  <c:v>0.07654123289583215</c:v>
                </c:pt>
                <c:pt idx="57">
                  <c:v>0.08045322352124207</c:v>
                </c:pt>
                <c:pt idx="58">
                  <c:v>0.07907215187810213</c:v>
                </c:pt>
                <c:pt idx="59">
                  <c:v>0.1000260987198407</c:v>
                </c:pt>
                <c:pt idx="60">
                  <c:v>0.10384413083454769</c:v>
                </c:pt>
                <c:pt idx="61">
                  <c:v>0.10384413083454769</c:v>
                </c:pt>
                <c:pt idx="62">
                  <c:v>0.10384413083454769</c:v>
                </c:pt>
                <c:pt idx="63">
                  <c:v>0.11412922311343277</c:v>
                </c:pt>
                <c:pt idx="64">
                  <c:v>0.11237365148542855</c:v>
                </c:pt>
                <c:pt idx="65">
                  <c:v>0.09557641678919615</c:v>
                </c:pt>
                <c:pt idx="66">
                  <c:v>0.10634984096370204</c:v>
                </c:pt>
                <c:pt idx="67">
                  <c:v>0.1131237652132766</c:v>
                </c:pt>
                <c:pt idx="68">
                  <c:v>0.1131237652132766</c:v>
                </c:pt>
                <c:pt idx="69">
                  <c:v>0.1131237652132766</c:v>
                </c:pt>
                <c:pt idx="70">
                  <c:v>0.10738588188586995</c:v>
                </c:pt>
                <c:pt idx="71">
                  <c:v>0.11455802343072174</c:v>
                </c:pt>
                <c:pt idx="72">
                  <c:v>0.1155128448702416</c:v>
                </c:pt>
                <c:pt idx="73">
                  <c:v>0.11514639184389264</c:v>
                </c:pt>
                <c:pt idx="74">
                  <c:v>0.11135321410226862</c:v>
                </c:pt>
                <c:pt idx="75">
                  <c:v>0.11135321410226862</c:v>
                </c:pt>
                <c:pt idx="76">
                  <c:v>0.11135321410226862</c:v>
                </c:pt>
                <c:pt idx="77">
                  <c:v>0.10682082794669245</c:v>
                </c:pt>
                <c:pt idx="78">
                  <c:v>0.09833393420878167</c:v>
                </c:pt>
                <c:pt idx="79">
                  <c:v>0.08079271085608908</c:v>
                </c:pt>
                <c:pt idx="80">
                  <c:v>0.0867247673924354</c:v>
                </c:pt>
                <c:pt idx="81">
                  <c:v>0.054298408033735646</c:v>
                </c:pt>
                <c:pt idx="82">
                  <c:v>0.054298408033735646</c:v>
                </c:pt>
                <c:pt idx="83">
                  <c:v>0.054298408033735646</c:v>
                </c:pt>
                <c:pt idx="84">
                  <c:v>0.06913049084129308</c:v>
                </c:pt>
                <c:pt idx="85">
                  <c:v>0.048233967044191584</c:v>
                </c:pt>
                <c:pt idx="86">
                  <c:v>0.04302927892933717</c:v>
                </c:pt>
                <c:pt idx="87">
                  <c:v>0.055067237886761156</c:v>
                </c:pt>
                <c:pt idx="88">
                  <c:v>0.03411694277246036</c:v>
                </c:pt>
                <c:pt idx="89">
                  <c:v>0.03411694277246036</c:v>
                </c:pt>
                <c:pt idx="90">
                  <c:v>0.03411694277246036</c:v>
                </c:pt>
                <c:pt idx="91">
                  <c:v>0.03663814265487386</c:v>
                </c:pt>
                <c:pt idx="92">
                  <c:v>0.06083219354738989</c:v>
                </c:pt>
                <c:pt idx="93">
                  <c:v>0.05997500519509136</c:v>
                </c:pt>
                <c:pt idx="94">
                  <c:v>0.04020430608806613</c:v>
                </c:pt>
                <c:pt idx="95">
                  <c:v>-0.039790457474828345</c:v>
                </c:pt>
                <c:pt idx="96">
                  <c:v>-0.039790457474828345</c:v>
                </c:pt>
                <c:pt idx="97">
                  <c:v>-0.039790457474828345</c:v>
                </c:pt>
                <c:pt idx="98">
                  <c:v>-0.0540109204467194</c:v>
                </c:pt>
                <c:pt idx="99">
                  <c:v>-0.062202797877169314</c:v>
                </c:pt>
                <c:pt idx="100">
                  <c:v>-0.04661062792531645</c:v>
                </c:pt>
                <c:pt idx="101">
                  <c:v>-0.04862235090933975</c:v>
                </c:pt>
                <c:pt idx="102">
                  <c:v>-0.05862054257831906</c:v>
                </c:pt>
                <c:pt idx="103">
                  <c:v>-0.05862054257831906</c:v>
                </c:pt>
                <c:pt idx="104">
                  <c:v>-0.05862054257831906</c:v>
                </c:pt>
                <c:pt idx="105">
                  <c:v>-0.0684371738336379</c:v>
                </c:pt>
                <c:pt idx="106">
                  <c:v>-0.049336486780608424</c:v>
                </c:pt>
                <c:pt idx="107">
                  <c:v>-0.037814851057565546</c:v>
                </c:pt>
                <c:pt idx="108">
                  <c:v>-0.023307271946546915</c:v>
                </c:pt>
                <c:pt idx="109">
                  <c:v>-0.02260678042831865</c:v>
                </c:pt>
                <c:pt idx="110">
                  <c:v>-0.02260678042831865</c:v>
                </c:pt>
                <c:pt idx="111">
                  <c:v>-0.02260678042831865</c:v>
                </c:pt>
                <c:pt idx="112">
                  <c:v>-0.01576364680000697</c:v>
                </c:pt>
                <c:pt idx="113">
                  <c:v>-0.01988487199535449</c:v>
                </c:pt>
                <c:pt idx="114">
                  <c:v>-0.022521427407453998</c:v>
                </c:pt>
                <c:pt idx="115">
                  <c:v>-0.02159307494835716</c:v>
                </c:pt>
                <c:pt idx="116">
                  <c:v>-0.020603159322787556</c:v>
                </c:pt>
                <c:pt idx="117">
                  <c:v>-0.020603159322787556</c:v>
                </c:pt>
                <c:pt idx="118">
                  <c:v>-0.020603159322787556</c:v>
                </c:pt>
                <c:pt idx="119">
                  <c:v>-0.014776304222380965</c:v>
                </c:pt>
                <c:pt idx="120">
                  <c:v>-0.0171850931729709</c:v>
                </c:pt>
                <c:pt idx="121">
                  <c:v>-0.03815689616975004</c:v>
                </c:pt>
                <c:pt idx="122">
                  <c:v>-0.04072987320258281</c:v>
                </c:pt>
                <c:pt idx="123">
                  <c:v>-0.04748779251155488</c:v>
                </c:pt>
                <c:pt idx="124">
                  <c:v>-0.04748779251155488</c:v>
                </c:pt>
                <c:pt idx="125">
                  <c:v>-0.04748779251155488</c:v>
                </c:pt>
                <c:pt idx="126">
                  <c:v>-0.05262036530739844</c:v>
                </c:pt>
                <c:pt idx="127">
                  <c:v>-0.018287575743444417</c:v>
                </c:pt>
                <c:pt idx="128">
                  <c:v>0.006514048199585787</c:v>
                </c:pt>
                <c:pt idx="129">
                  <c:v>-0.004132722102384245</c:v>
                </c:pt>
                <c:pt idx="130">
                  <c:v>-0.0022608271800068636</c:v>
                </c:pt>
                <c:pt idx="131">
                  <c:v>-0.0022608271800068636</c:v>
                </c:pt>
                <c:pt idx="132">
                  <c:v>-0.0022608271800068636</c:v>
                </c:pt>
                <c:pt idx="133">
                  <c:v>-0.0025921946786824357</c:v>
                </c:pt>
                <c:pt idx="134">
                  <c:v>-0.016255403500646026</c:v>
                </c:pt>
                <c:pt idx="135">
                  <c:v>-0.015601290203942408</c:v>
                </c:pt>
                <c:pt idx="136">
                  <c:v>-0.014284225095026137</c:v>
                </c:pt>
                <c:pt idx="137">
                  <c:v>-0.03663976652993628</c:v>
                </c:pt>
                <c:pt idx="138">
                  <c:v>-0.03663976652993628</c:v>
                </c:pt>
                <c:pt idx="139">
                  <c:v>-0.03663976652993628</c:v>
                </c:pt>
                <c:pt idx="140">
                  <c:v>-0.04944604382018403</c:v>
                </c:pt>
                <c:pt idx="141">
                  <c:v>-0.063859297183266</c:v>
                </c:pt>
                <c:pt idx="142">
                  <c:v>-0.056643707907443774</c:v>
                </c:pt>
                <c:pt idx="143">
                  <c:v>-0.06372439828339171</c:v>
                </c:pt>
                <c:pt idx="144">
                  <c:v>-0.04319086365188918</c:v>
                </c:pt>
                <c:pt idx="145">
                  <c:v>-0.04319086365188918</c:v>
                </c:pt>
                <c:pt idx="146">
                  <c:v>-0.04319086365188918</c:v>
                </c:pt>
                <c:pt idx="147">
                  <c:v>-0.008790387298631686</c:v>
                </c:pt>
                <c:pt idx="148">
                  <c:v>0.010520961220869207</c:v>
                </c:pt>
                <c:pt idx="149">
                  <c:v>0.015017131209815515</c:v>
                </c:pt>
                <c:pt idx="150">
                  <c:v>-0.006855648832140515</c:v>
                </c:pt>
                <c:pt idx="151">
                  <c:v>0.012243768822696177</c:v>
                </c:pt>
                <c:pt idx="152">
                  <c:v>0.012243768822696177</c:v>
                </c:pt>
                <c:pt idx="153">
                  <c:v>0.012243768822696177</c:v>
                </c:pt>
                <c:pt idx="154">
                  <c:v>0.02124014212390346</c:v>
                </c:pt>
                <c:pt idx="155">
                  <c:v>0.02895781925101315</c:v>
                </c:pt>
                <c:pt idx="156">
                  <c:v>0.06351812383757216</c:v>
                </c:pt>
                <c:pt idx="157">
                  <c:v>0.058717831171735124</c:v>
                </c:pt>
                <c:pt idx="158">
                  <c:v>0.0467493343133738</c:v>
                </c:pt>
                <c:pt idx="159">
                  <c:v>0.0467493343133738</c:v>
                </c:pt>
                <c:pt idx="160">
                  <c:v>0.0467493343133738</c:v>
                </c:pt>
                <c:pt idx="161">
                  <c:v>0.04520826674708078</c:v>
                </c:pt>
                <c:pt idx="162">
                  <c:v>0.06396251969061217</c:v>
                </c:pt>
                <c:pt idx="163">
                  <c:v>0.03926576394462811</c:v>
                </c:pt>
                <c:pt idx="164">
                  <c:v>-0.010344652679749156</c:v>
                </c:pt>
                <c:pt idx="165">
                  <c:v>-0.05081054436484578</c:v>
                </c:pt>
                <c:pt idx="166">
                  <c:v>-0.05081054436484578</c:v>
                </c:pt>
                <c:pt idx="167">
                  <c:v>-0.05081054436484578</c:v>
                </c:pt>
                <c:pt idx="168">
                  <c:v>-0.06211821079188695</c:v>
                </c:pt>
                <c:pt idx="169">
                  <c:v>-0.06355760962162083</c:v>
                </c:pt>
                <c:pt idx="170">
                  <c:v>-0.06602155874407667</c:v>
                </c:pt>
                <c:pt idx="171">
                  <c:v>-0.060537953383537624</c:v>
                </c:pt>
                <c:pt idx="172">
                  <c:v>-0.03283162444452714</c:v>
                </c:pt>
                <c:pt idx="173">
                  <c:v>-0.03283162444452714</c:v>
                </c:pt>
                <c:pt idx="174">
                  <c:v>-0.03283162444452714</c:v>
                </c:pt>
                <c:pt idx="175">
                  <c:v>-0.040438785841292124</c:v>
                </c:pt>
                <c:pt idx="176">
                  <c:v>-0.04875658056547383</c:v>
                </c:pt>
                <c:pt idx="177">
                  <c:v>-0.0377381782614673</c:v>
                </c:pt>
                <c:pt idx="178">
                  <c:v>-0.03664698079565598</c:v>
                </c:pt>
                <c:pt idx="179">
                  <c:v>-0.04702790148069169</c:v>
                </c:pt>
                <c:pt idx="180">
                  <c:v>-0.04702790148069169</c:v>
                </c:pt>
                <c:pt idx="181">
                  <c:v>-0.04702790148069169</c:v>
                </c:pt>
                <c:pt idx="182">
                  <c:v>-0.07715077538912396</c:v>
                </c:pt>
                <c:pt idx="183">
                  <c:v>-0.07562170120161915</c:v>
                </c:pt>
                <c:pt idx="184">
                  <c:v>-0.04324726934000578</c:v>
                </c:pt>
                <c:pt idx="185">
                  <c:v>-0.04144289320530925</c:v>
                </c:pt>
                <c:pt idx="186">
                  <c:v>-0.05128657803413739</c:v>
                </c:pt>
                <c:pt idx="187">
                  <c:v>-0.05128657803413739</c:v>
                </c:pt>
                <c:pt idx="188">
                  <c:v>-0.05128657803413739</c:v>
                </c:pt>
                <c:pt idx="189">
                  <c:v>-0.06887449240325483</c:v>
                </c:pt>
                <c:pt idx="190">
                  <c:v>-0.06356270537411579</c:v>
                </c:pt>
                <c:pt idx="191">
                  <c:v>-0.046184118101418314</c:v>
                </c:pt>
                <c:pt idx="192">
                  <c:v>-0.02808485114185022</c:v>
                </c:pt>
                <c:pt idx="193">
                  <c:v>-0.013943289805272707</c:v>
                </c:pt>
                <c:pt idx="194">
                  <c:v>-0.013943289805272707</c:v>
                </c:pt>
                <c:pt idx="195">
                  <c:v>-0.013943289805272707</c:v>
                </c:pt>
                <c:pt idx="196">
                  <c:v>-0.02003017990241518</c:v>
                </c:pt>
                <c:pt idx="197">
                  <c:v>-0.00933710752421646</c:v>
                </c:pt>
                <c:pt idx="198">
                  <c:v>-0.0218267020350843</c:v>
                </c:pt>
                <c:pt idx="199">
                  <c:v>-0.0031844349034363395</c:v>
                </c:pt>
                <c:pt idx="200">
                  <c:v>-0.0034248290988678765</c:v>
                </c:pt>
                <c:pt idx="201">
                  <c:v>-0.0034248290988678765</c:v>
                </c:pt>
                <c:pt idx="202">
                  <c:v>-0.0034248290988678765</c:v>
                </c:pt>
                <c:pt idx="203">
                  <c:v>0.009939899933486318</c:v>
                </c:pt>
                <c:pt idx="204">
                  <c:v>0.031312635932958965</c:v>
                </c:pt>
                <c:pt idx="205">
                  <c:v>0.03539877495063837</c:v>
                </c:pt>
                <c:pt idx="206">
                  <c:v>0.019083234558084028</c:v>
                </c:pt>
                <c:pt idx="207">
                  <c:v>0.028228056613867958</c:v>
                </c:pt>
                <c:pt idx="208">
                  <c:v>0.028228056613867958</c:v>
                </c:pt>
                <c:pt idx="209">
                  <c:v>0.028228056613867958</c:v>
                </c:pt>
                <c:pt idx="210">
                  <c:v>0.03177139918155514</c:v>
                </c:pt>
                <c:pt idx="211">
                  <c:v>-0.010298679373165864</c:v>
                </c:pt>
                <c:pt idx="212">
                  <c:v>-0.03250616543501905</c:v>
                </c:pt>
                <c:pt idx="213">
                  <c:v>-0.03429675831334145</c:v>
                </c:pt>
                <c:pt idx="214">
                  <c:v>-0.03743486362606652</c:v>
                </c:pt>
                <c:pt idx="215">
                  <c:v>-0.03743486362606652</c:v>
                </c:pt>
                <c:pt idx="216">
                  <c:v>-0.03743486362606652</c:v>
                </c:pt>
                <c:pt idx="217">
                  <c:v>-0.06041439845230845</c:v>
                </c:pt>
                <c:pt idx="218">
                  <c:v>-0.06388839052987727</c:v>
                </c:pt>
                <c:pt idx="219">
                  <c:v>-0.053976744972278334</c:v>
                </c:pt>
                <c:pt idx="220">
                  <c:v>-0.0672227217494541</c:v>
                </c:pt>
                <c:pt idx="221">
                  <c:v>-0.06750592387190424</c:v>
                </c:pt>
                <c:pt idx="222">
                  <c:v>-0.06750592387190424</c:v>
                </c:pt>
                <c:pt idx="223">
                  <c:v>-0.06750592387190424</c:v>
                </c:pt>
                <c:pt idx="224">
                  <c:v>-0.05608949582153622</c:v>
                </c:pt>
                <c:pt idx="225">
                  <c:v>-0.04184707596666282</c:v>
                </c:pt>
                <c:pt idx="226">
                  <c:v>-0.04933337039863128</c:v>
                </c:pt>
                <c:pt idx="227">
                  <c:v>-0.07350430619784287</c:v>
                </c:pt>
                <c:pt idx="228">
                  <c:v>-0.09046647629739923</c:v>
                </c:pt>
                <c:pt idx="229">
                  <c:v>-0.09046647629739923</c:v>
                </c:pt>
                <c:pt idx="230">
                  <c:v>-0.09046647629739923</c:v>
                </c:pt>
                <c:pt idx="231">
                  <c:v>-0.1339405669682755</c:v>
                </c:pt>
                <c:pt idx="232">
                  <c:v>-0.15213975801840096</c:v>
                </c:pt>
                <c:pt idx="233">
                  <c:v>-0.14100300241123898</c:v>
                </c:pt>
                <c:pt idx="234">
                  <c:v>-0.11361114983456289</c:v>
                </c:pt>
                <c:pt idx="235">
                  <c:v>-0.12604694687348272</c:v>
                </c:pt>
                <c:pt idx="236">
                  <c:v>-0.12604694687348272</c:v>
                </c:pt>
                <c:pt idx="237">
                  <c:v>-0.12604694687348272</c:v>
                </c:pt>
                <c:pt idx="238">
                  <c:v>-0.1270759998647324</c:v>
                </c:pt>
                <c:pt idx="239">
                  <c:v>-0.11789139110217517</c:v>
                </c:pt>
                <c:pt idx="240">
                  <c:v>-0.10013763225097949</c:v>
                </c:pt>
                <c:pt idx="241">
                  <c:v>-0.11898288310209204</c:v>
                </c:pt>
                <c:pt idx="242">
                  <c:v>-0.12970246075997938</c:v>
                </c:pt>
                <c:pt idx="243">
                  <c:v>-0.12970246075997938</c:v>
                </c:pt>
                <c:pt idx="244">
                  <c:v>-0.12970246075997938</c:v>
                </c:pt>
                <c:pt idx="245">
                  <c:v>-0.16575368930893986</c:v>
                </c:pt>
                <c:pt idx="246">
                  <c:v>-0.16566286867166247</c:v>
                </c:pt>
                <c:pt idx="247">
                  <c:v>-0.17265265424879428</c:v>
                </c:pt>
                <c:pt idx="248">
                  <c:v>-0.17906442937639355</c:v>
                </c:pt>
                <c:pt idx="249">
                  <c:v>-0.14769236017538612</c:v>
                </c:pt>
                <c:pt idx="250">
                  <c:v>-0.14769236017538612</c:v>
                </c:pt>
                <c:pt idx="251">
                  <c:v>-0.14769236017538612</c:v>
                </c:pt>
                <c:pt idx="252">
                  <c:v>-0.1570998359466831</c:v>
                </c:pt>
                <c:pt idx="253">
                  <c:v>-0.12247685835823874</c:v>
                </c:pt>
                <c:pt idx="254">
                  <c:v>-0.15203938964350716</c:v>
                </c:pt>
                <c:pt idx="255">
                  <c:v>-0.15189995178987514</c:v>
                </c:pt>
                <c:pt idx="256">
                  <c:v>-0.14801100872253292</c:v>
                </c:pt>
                <c:pt idx="257">
                  <c:v>-0.14801100872253292</c:v>
                </c:pt>
                <c:pt idx="258">
                  <c:v>-0.14801100872253292</c:v>
                </c:pt>
                <c:pt idx="259">
                  <c:v>-0.13315724473187784</c:v>
                </c:pt>
                <c:pt idx="260">
                  <c:v>-0.14072999465950164</c:v>
                </c:pt>
                <c:pt idx="261">
                  <c:v>-0.1325340787541993</c:v>
                </c:pt>
                <c:pt idx="262">
                  <c:v>-0.116001762936634</c:v>
                </c:pt>
                <c:pt idx="263">
                  <c:v>-0.08810167168955452</c:v>
                </c:pt>
                <c:pt idx="264">
                  <c:v>-0.08810167168955452</c:v>
                </c:pt>
                <c:pt idx="265">
                  <c:v>-0.08810167168955452</c:v>
                </c:pt>
                <c:pt idx="266">
                  <c:v>-0.0799551214305474</c:v>
                </c:pt>
                <c:pt idx="267">
                  <c:v>-0.08388374733223769</c:v>
                </c:pt>
                <c:pt idx="268">
                  <c:v>-0.09390550255582264</c:v>
                </c:pt>
                <c:pt idx="269">
                  <c:v>-0.07472254376522314</c:v>
                </c:pt>
                <c:pt idx="270">
                  <c:v>-0.09321591010652086</c:v>
                </c:pt>
                <c:pt idx="271">
                  <c:v>-0.09321591010652086</c:v>
                </c:pt>
                <c:pt idx="272">
                  <c:v>-0.09321591010652086</c:v>
                </c:pt>
                <c:pt idx="273">
                  <c:v>-0.09445565034198922</c:v>
                </c:pt>
                <c:pt idx="274">
                  <c:v>-0.09998828102322577</c:v>
                </c:pt>
                <c:pt idx="275">
                  <c:v>-0.10697979240270294</c:v>
                </c:pt>
                <c:pt idx="276">
                  <c:v>-0.12511929021684887</c:v>
                </c:pt>
                <c:pt idx="277">
                  <c:v>-0.14022541697631952</c:v>
                </c:pt>
                <c:pt idx="278">
                  <c:v>-0.14022541697631952</c:v>
                </c:pt>
                <c:pt idx="279">
                  <c:v>-0.14022541697631952</c:v>
                </c:pt>
                <c:pt idx="280">
                  <c:v>-0.173881190153226</c:v>
                </c:pt>
                <c:pt idx="281">
                  <c:v>-0.18340522378038238</c:v>
                </c:pt>
                <c:pt idx="282">
                  <c:v>-0.17131159623065062</c:v>
                </c:pt>
                <c:pt idx="283">
                  <c:v>-0.19842117550566718</c:v>
                </c:pt>
                <c:pt idx="284">
                  <c:v>-0.1930577708790795</c:v>
                </c:pt>
                <c:pt idx="285">
                  <c:v>-0.1930577708790795</c:v>
                </c:pt>
                <c:pt idx="286">
                  <c:v>-0.1930577708790795</c:v>
                </c:pt>
                <c:pt idx="287">
                  <c:v>-0.1848583128804674</c:v>
                </c:pt>
                <c:pt idx="288">
                  <c:v>-0.1728998341386675</c:v>
                </c:pt>
                <c:pt idx="289">
                  <c:v>-0.18211774469153408</c:v>
                </c:pt>
                <c:pt idx="290">
                  <c:v>-0.1784775755806126</c:v>
                </c:pt>
                <c:pt idx="291">
                  <c:v>-0.15157994470506864</c:v>
                </c:pt>
                <c:pt idx="292">
                  <c:v>-0.15157994470506864</c:v>
                </c:pt>
                <c:pt idx="293">
                  <c:v>-0.15157994470506864</c:v>
                </c:pt>
                <c:pt idx="294">
                  <c:v>-0.14711779509920453</c:v>
                </c:pt>
                <c:pt idx="295">
                  <c:v>-0.16170675641545929</c:v>
                </c:pt>
                <c:pt idx="296">
                  <c:v>-0.17221811994096814</c:v>
                </c:pt>
                <c:pt idx="297">
                  <c:v>-0.18618493610761033</c:v>
                </c:pt>
                <c:pt idx="298">
                  <c:v>-0.19938676291328716</c:v>
                </c:pt>
                <c:pt idx="299">
                  <c:v>-0.19938676291328716</c:v>
                </c:pt>
                <c:pt idx="300">
                  <c:v>-0.19938676291328716</c:v>
                </c:pt>
                <c:pt idx="301">
                  <c:v>-0.21224792801629033</c:v>
                </c:pt>
                <c:pt idx="302">
                  <c:v>-0.22218128526925907</c:v>
                </c:pt>
                <c:pt idx="303">
                  <c:v>-0.22015659540083854</c:v>
                </c:pt>
                <c:pt idx="304">
                  <c:v>-0.21097273733082977</c:v>
                </c:pt>
                <c:pt idx="305">
                  <c:v>-0.20739235152939428</c:v>
                </c:pt>
                <c:pt idx="306">
                  <c:v>-0.20739235152939428</c:v>
                </c:pt>
                <c:pt idx="307">
                  <c:v>-0.20739235152939428</c:v>
                </c:pt>
                <c:pt idx="308">
                  <c:v>-0.2292734689128897</c:v>
                </c:pt>
                <c:pt idx="309">
                  <c:v>-0.228283925709601</c:v>
                </c:pt>
                <c:pt idx="310">
                  <c:v>-0.22964882315146262</c:v>
                </c:pt>
                <c:pt idx="311">
                  <c:v>-0.2347043449415811</c:v>
                </c:pt>
                <c:pt idx="312">
                  <c:v>-0.2222875726712219</c:v>
                </c:pt>
                <c:pt idx="313">
                  <c:v>-0.2222875726712219</c:v>
                </c:pt>
                <c:pt idx="314">
                  <c:v>-0.2222875726712219</c:v>
                </c:pt>
                <c:pt idx="315">
                  <c:v>-0.2157152103018386</c:v>
                </c:pt>
                <c:pt idx="316">
                  <c:v>-0.19820686464201598</c:v>
                </c:pt>
                <c:pt idx="317">
                  <c:v>-0.1889360635359787</c:v>
                </c:pt>
                <c:pt idx="318">
                  <c:v>-0.1861657917439542</c:v>
                </c:pt>
                <c:pt idx="319">
                  <c:v>-0.19004506018920375</c:v>
                </c:pt>
                <c:pt idx="320">
                  <c:v>-0.19004506018920375</c:v>
                </c:pt>
                <c:pt idx="321">
                  <c:v>-0.19004506018920375</c:v>
                </c:pt>
                <c:pt idx="322">
                  <c:v>-0.19743687211722583</c:v>
                </c:pt>
                <c:pt idx="323">
                  <c:v>-0.21154172812169636</c:v>
                </c:pt>
                <c:pt idx="324">
                  <c:v>-0.17629936126404477</c:v>
                </c:pt>
                <c:pt idx="325">
                  <c:v>-0.1616504607885122</c:v>
                </c:pt>
                <c:pt idx="326">
                  <c:v>-0.17723122598376306</c:v>
                </c:pt>
                <c:pt idx="327">
                  <c:v>-0.17723122598376306</c:v>
                </c:pt>
                <c:pt idx="328">
                  <c:v>-0.17723122598376306</c:v>
                </c:pt>
                <c:pt idx="329">
                  <c:v>-0.17195076450375013</c:v>
                </c:pt>
                <c:pt idx="330">
                  <c:v>-0.17678648063272195</c:v>
                </c:pt>
                <c:pt idx="331">
                  <c:v>-0.18693075634469358</c:v>
                </c:pt>
                <c:pt idx="332">
                  <c:v>-0.1722701716109012</c:v>
                </c:pt>
                <c:pt idx="333">
                  <c:v>-0.17172760797556452</c:v>
                </c:pt>
                <c:pt idx="334">
                  <c:v>-0.17172760797556452</c:v>
                </c:pt>
                <c:pt idx="335">
                  <c:v>-0.17172760797556452</c:v>
                </c:pt>
                <c:pt idx="336">
                  <c:v>-0.16684551017483773</c:v>
                </c:pt>
                <c:pt idx="337">
                  <c:v>-0.1848200720239065</c:v>
                </c:pt>
                <c:pt idx="338">
                  <c:v>-0.15724276486712885</c:v>
                </c:pt>
                <c:pt idx="339">
                  <c:v>-0.15741285256723703</c:v>
                </c:pt>
                <c:pt idx="340">
                  <c:v>-0.1455552499590933</c:v>
                </c:pt>
                <c:pt idx="341">
                  <c:v>-0.1455552499590933</c:v>
                </c:pt>
                <c:pt idx="342">
                  <c:v>-0.1455552499590933</c:v>
                </c:pt>
                <c:pt idx="343">
                  <c:v>-0.1455183177704782</c:v>
                </c:pt>
                <c:pt idx="344">
                  <c:v>-0.14243362908667712</c:v>
                </c:pt>
                <c:pt idx="345">
                  <c:v>-0.15281556853019596</c:v>
                </c:pt>
                <c:pt idx="346">
                  <c:v>-0.15201217679100132</c:v>
                </c:pt>
                <c:pt idx="347">
                  <c:v>-0.1625223788164385</c:v>
                </c:pt>
                <c:pt idx="348">
                  <c:v>-0.1625223788164385</c:v>
                </c:pt>
                <c:pt idx="349">
                  <c:v>-0.1625223788164385</c:v>
                </c:pt>
                <c:pt idx="350">
                  <c:v>-0.17515731610771135</c:v>
                </c:pt>
                <c:pt idx="351">
                  <c:v>-0.17741086161929598</c:v>
                </c:pt>
                <c:pt idx="352">
                  <c:v>-0.1755570337210327</c:v>
                </c:pt>
                <c:pt idx="353">
                  <c:v>-0.1633764633521836</c:v>
                </c:pt>
                <c:pt idx="354">
                  <c:v>-0.18388339980044088</c:v>
                </c:pt>
                <c:pt idx="355">
                  <c:v>-0.18388339980044088</c:v>
                </c:pt>
                <c:pt idx="356">
                  <c:v>-0.18388339980044088</c:v>
                </c:pt>
                <c:pt idx="357">
                  <c:v>-0.18351206153632627</c:v>
                </c:pt>
                <c:pt idx="358">
                  <c:v>-0.20050988564457173</c:v>
                </c:pt>
                <c:pt idx="359">
                  <c:v>-0.211162461913175</c:v>
                </c:pt>
                <c:pt idx="360">
                  <c:v>-0.2342713736497003</c:v>
                </c:pt>
                <c:pt idx="361">
                  <c:v>-0.26031017501023335</c:v>
                </c:pt>
                <c:pt idx="362">
                  <c:v>-0.26031017501023335</c:v>
                </c:pt>
                <c:pt idx="363">
                  <c:v>-0.26031017501023335</c:v>
                </c:pt>
                <c:pt idx="364">
                  <c:v>-0.2643918907969284</c:v>
                </c:pt>
                <c:pt idx="365">
                  <c:v>-0.2648073088019479</c:v>
                </c:pt>
                <c:pt idx="366">
                  <c:v>-0.25516729896048906</c:v>
                </c:pt>
                <c:pt idx="367">
                  <c:v>-0.25007766009367827</c:v>
                </c:pt>
                <c:pt idx="368">
                  <c:v>-0.23508885075966846</c:v>
                </c:pt>
                <c:pt idx="369">
                  <c:v>-0.23508885075966846</c:v>
                </c:pt>
                <c:pt idx="370">
                  <c:v>-0.23508885075966846</c:v>
                </c:pt>
                <c:pt idx="371">
                  <c:v>-0.22999032909306838</c:v>
                </c:pt>
                <c:pt idx="372">
                  <c:v>-0.2516763929547631</c:v>
                </c:pt>
                <c:pt idx="373">
                  <c:v>-0.2508418194959202</c:v>
                </c:pt>
                <c:pt idx="374">
                  <c:v>-0.26170238272072077</c:v>
                </c:pt>
                <c:pt idx="375">
                  <c:v>-0.2685457150409155</c:v>
                </c:pt>
                <c:pt idx="376">
                  <c:v>-0.2685457150409155</c:v>
                </c:pt>
                <c:pt idx="377">
                  <c:v>-0.2685457150409155</c:v>
                </c:pt>
                <c:pt idx="378">
                  <c:v>-0.27901480138628687</c:v>
                </c:pt>
                <c:pt idx="379">
                  <c:v>-0.26720526971888936</c:v>
                </c:pt>
                <c:pt idx="380">
                  <c:v>-0.2687858473576167</c:v>
                </c:pt>
                <c:pt idx="381">
                  <c:v>-0.2856188262180964</c:v>
                </c:pt>
                <c:pt idx="382">
                  <c:v>-0.3007545220295281</c:v>
                </c:pt>
                <c:pt idx="383">
                  <c:v>-0.3007545220295281</c:v>
                </c:pt>
                <c:pt idx="384">
                  <c:v>-0.3007545220295281</c:v>
                </c:pt>
                <c:pt idx="385">
                  <c:v>-0.28437707932037093</c:v>
                </c:pt>
                <c:pt idx="386">
                  <c:v>-0.30151511321980373</c:v>
                </c:pt>
                <c:pt idx="387">
                  <c:v>-0.2939065591840173</c:v>
                </c:pt>
                <c:pt idx="388">
                  <c:v>-0.30948657525840273</c:v>
                </c:pt>
                <c:pt idx="389">
                  <c:v>-0.3137144899813604</c:v>
                </c:pt>
                <c:pt idx="390">
                  <c:v>-0.3137144899813604</c:v>
                </c:pt>
                <c:pt idx="391">
                  <c:v>-0.3137144899813604</c:v>
                </c:pt>
                <c:pt idx="392">
                  <c:v>-0.29897857413484497</c:v>
                </c:pt>
                <c:pt idx="393">
                  <c:v>-0.28095004178002925</c:v>
                </c:pt>
                <c:pt idx="394">
                  <c:v>-0.2821284204719311</c:v>
                </c:pt>
                <c:pt idx="395">
                  <c:v>-0.2835284769333243</c:v>
                </c:pt>
                <c:pt idx="396">
                  <c:v>-0.3051780084116027</c:v>
                </c:pt>
                <c:pt idx="397">
                  <c:v>-0.3051780084116027</c:v>
                </c:pt>
                <c:pt idx="398">
                  <c:v>-0.3051780084116027</c:v>
                </c:pt>
                <c:pt idx="399">
                  <c:v>-0.30431700162304176</c:v>
                </c:pt>
                <c:pt idx="400">
                  <c:v>-0.3171319531679042</c:v>
                </c:pt>
                <c:pt idx="401">
                  <c:v>-0.3200663005401416</c:v>
                </c:pt>
                <c:pt idx="402">
                  <c:v>-0.3088457717937405</c:v>
                </c:pt>
                <c:pt idx="403">
                  <c:v>-0.3175436893865863</c:v>
                </c:pt>
                <c:pt idx="404">
                  <c:v>-0.3175436893865863</c:v>
                </c:pt>
                <c:pt idx="405">
                  <c:v>-0.3175436893865863</c:v>
                </c:pt>
                <c:pt idx="406">
                  <c:v>-0.30047198700524613</c:v>
                </c:pt>
                <c:pt idx="407">
                  <c:v>-0.29398876869000456</c:v>
                </c:pt>
                <c:pt idx="408">
                  <c:v>-0.3021251739286386</c:v>
                </c:pt>
                <c:pt idx="409">
                  <c:v>-0.30402760013216557</c:v>
                </c:pt>
                <c:pt idx="410">
                  <c:v>-0.28998487586608024</c:v>
                </c:pt>
                <c:pt idx="411">
                  <c:v>-0.28998487586608024</c:v>
                </c:pt>
                <c:pt idx="412">
                  <c:v>-0.28998487586608024</c:v>
                </c:pt>
                <c:pt idx="413">
                  <c:v>-0.2996516079508055</c:v>
                </c:pt>
                <c:pt idx="414">
                  <c:v>-0.2840524157361475</c:v>
                </c:pt>
                <c:pt idx="415">
                  <c:v>-0.27566841639563466</c:v>
                </c:pt>
                <c:pt idx="416">
                  <c:v>-0.2837500855516366</c:v>
                </c:pt>
                <c:pt idx="417">
                  <c:v>-0.2805701042404912</c:v>
                </c:pt>
                <c:pt idx="418">
                  <c:v>-0.2805701042404912</c:v>
                </c:pt>
                <c:pt idx="419">
                  <c:v>-0.2805701042404912</c:v>
                </c:pt>
                <c:pt idx="420">
                  <c:v>-0.2851851299298124</c:v>
                </c:pt>
                <c:pt idx="421">
                  <c:v>-0.2723549585069992</c:v>
                </c:pt>
                <c:pt idx="422">
                  <c:v>-0.292212449349606</c:v>
                </c:pt>
                <c:pt idx="423">
                  <c:v>-0.29982267109145644</c:v>
                </c:pt>
                <c:pt idx="424">
                  <c:v>-0.27814848382494983</c:v>
                </c:pt>
                <c:pt idx="425">
                  <c:v>-0.27814848382494983</c:v>
                </c:pt>
                <c:pt idx="426">
                  <c:v>-0.27814848382494983</c:v>
                </c:pt>
                <c:pt idx="427">
                  <c:v>-0.2715319865771175</c:v>
                </c:pt>
                <c:pt idx="428">
                  <c:v>-0.2504241861777152</c:v>
                </c:pt>
                <c:pt idx="429">
                  <c:v>-0.2625608534709135</c:v>
                </c:pt>
                <c:pt idx="430">
                  <c:v>-0.22098562872702476</c:v>
                </c:pt>
                <c:pt idx="431">
                  <c:v>-0.20100354264329656</c:v>
                </c:pt>
                <c:pt idx="432">
                  <c:v>-0.20100354264329656</c:v>
                </c:pt>
                <c:pt idx="433">
                  <c:v>-0.20100354264329656</c:v>
                </c:pt>
                <c:pt idx="434">
                  <c:v>-0.2105427477190105</c:v>
                </c:pt>
                <c:pt idx="435">
                  <c:v>-0.1929477706312338</c:v>
                </c:pt>
                <c:pt idx="436">
                  <c:v>-0.20379713324012494</c:v>
                </c:pt>
                <c:pt idx="437">
                  <c:v>-0.20820749321106746</c:v>
                </c:pt>
                <c:pt idx="438">
                  <c:v>-0.2056727528008373</c:v>
                </c:pt>
                <c:pt idx="439">
                  <c:v>-0.2056727528008373</c:v>
                </c:pt>
                <c:pt idx="440">
                  <c:v>-0.2056727528008373</c:v>
                </c:pt>
                <c:pt idx="441">
                  <c:v>-0.2114843999761995</c:v>
                </c:pt>
                <c:pt idx="442">
                  <c:v>-0.20156910206130818</c:v>
                </c:pt>
                <c:pt idx="443">
                  <c:v>-0.1923649682809364</c:v>
                </c:pt>
                <c:pt idx="444">
                  <c:v>-0.18845902889126764</c:v>
                </c:pt>
                <c:pt idx="445">
                  <c:v>-0.18958704567812434</c:v>
                </c:pt>
                <c:pt idx="446">
                  <c:v>-0.18958704567812434</c:v>
                </c:pt>
                <c:pt idx="447">
                  <c:v>-0.18958704567812434</c:v>
                </c:pt>
                <c:pt idx="448">
                  <c:v>-0.2011883559393184</c:v>
                </c:pt>
                <c:pt idx="449">
                  <c:v>-0.19292694883640782</c:v>
                </c:pt>
                <c:pt idx="450">
                  <c:v>-0.16887895830163813</c:v>
                </c:pt>
                <c:pt idx="451">
                  <c:v>-0.15902041263509892</c:v>
                </c:pt>
                <c:pt idx="452">
                  <c:v>-0.15603751206549754</c:v>
                </c:pt>
                <c:pt idx="453">
                  <c:v>-0.15603751206549754</c:v>
                </c:pt>
                <c:pt idx="454">
                  <c:v>-0.15603751206549754</c:v>
                </c:pt>
                <c:pt idx="455">
                  <c:v>-0.1584270913735698</c:v>
                </c:pt>
                <c:pt idx="456">
                  <c:v>-0.16987030016717175</c:v>
                </c:pt>
                <c:pt idx="457">
                  <c:v>-0.1707841294759087</c:v>
                </c:pt>
                <c:pt idx="458">
                  <c:v>-0.1559516558934918</c:v>
                </c:pt>
                <c:pt idx="459">
                  <c:v>-0.15287736329587953</c:v>
                </c:pt>
                <c:pt idx="460">
                  <c:v>-0.15287736329587953</c:v>
                </c:pt>
                <c:pt idx="461">
                  <c:v>-0.15287736329587953</c:v>
                </c:pt>
                <c:pt idx="462">
                  <c:v>-0.14992441036945758</c:v>
                </c:pt>
                <c:pt idx="463">
                  <c:v>-0.13997978741183137</c:v>
                </c:pt>
                <c:pt idx="464">
                  <c:v>-0.13843790196079087</c:v>
                </c:pt>
                <c:pt idx="465">
                  <c:v>-0.15945314850735615</c:v>
                </c:pt>
                <c:pt idx="466">
                  <c:v>-0.1620626952570462</c:v>
                </c:pt>
                <c:pt idx="467">
                  <c:v>-0.1620626952570462</c:v>
                </c:pt>
                <c:pt idx="468">
                  <c:v>-0.1620626952570462</c:v>
                </c:pt>
                <c:pt idx="469">
                  <c:v>-0.15854023151920493</c:v>
                </c:pt>
                <c:pt idx="470">
                  <c:v>-0.1647238826580797</c:v>
                </c:pt>
                <c:pt idx="471">
                  <c:v>-0.149277413509054</c:v>
                </c:pt>
                <c:pt idx="472">
                  <c:v>-0.15655351351216906</c:v>
                </c:pt>
                <c:pt idx="473">
                  <c:v>-0.15224969589880166</c:v>
                </c:pt>
                <c:pt idx="474">
                  <c:v>-0.15224969589880166</c:v>
                </c:pt>
                <c:pt idx="475">
                  <c:v>-0.15224969589880166</c:v>
                </c:pt>
                <c:pt idx="476">
                  <c:v>-0.14834353266470413</c:v>
                </c:pt>
                <c:pt idx="477">
                  <c:v>-0.1551174681161004</c:v>
                </c:pt>
                <c:pt idx="478">
                  <c:v>-0.15766206471161814</c:v>
                </c:pt>
                <c:pt idx="479">
                  <c:v>-0.1422647238928153</c:v>
                </c:pt>
                <c:pt idx="480">
                  <c:v>-0.14160044263904492</c:v>
                </c:pt>
                <c:pt idx="481">
                  <c:v>-0.14160044263904492</c:v>
                </c:pt>
                <c:pt idx="482">
                  <c:v>-0.14160044263904492</c:v>
                </c:pt>
                <c:pt idx="483">
                  <c:v>-0.1372399268191543</c:v>
                </c:pt>
                <c:pt idx="484">
                  <c:v>-0.1412076680130515</c:v>
                </c:pt>
                <c:pt idx="485">
                  <c:v>-0.12754827009534897</c:v>
                </c:pt>
                <c:pt idx="486">
                  <c:v>-0.12786091899979357</c:v>
                </c:pt>
                <c:pt idx="487">
                  <c:v>-0.10870134600668113</c:v>
                </c:pt>
                <c:pt idx="488">
                  <c:v>-0.10870134600668113</c:v>
                </c:pt>
                <c:pt idx="489">
                  <c:v>-0.10870134600668113</c:v>
                </c:pt>
                <c:pt idx="490">
                  <c:v>-0.09476708517435517</c:v>
                </c:pt>
                <c:pt idx="491">
                  <c:v>-0.08853710856523134</c:v>
                </c:pt>
                <c:pt idx="492">
                  <c:v>-0.07635385464495592</c:v>
                </c:pt>
                <c:pt idx="493">
                  <c:v>-0.06636861562947671</c:v>
                </c:pt>
                <c:pt idx="494">
                  <c:v>-0.06403743143650231</c:v>
                </c:pt>
                <c:pt idx="495">
                  <c:v>-0.06403743143650231</c:v>
                </c:pt>
                <c:pt idx="496">
                  <c:v>-0.06403743143650231</c:v>
                </c:pt>
                <c:pt idx="497">
                  <c:v>-0.06932866022093498</c:v>
                </c:pt>
                <c:pt idx="498">
                  <c:v>-0.06255073583976789</c:v>
                </c:pt>
                <c:pt idx="499">
                  <c:v>-0.062385801333247004</c:v>
                </c:pt>
                <c:pt idx="500">
                  <c:v>-0.06815985612645636</c:v>
                </c:pt>
                <c:pt idx="501">
                  <c:v>-0.040707242284113265</c:v>
                </c:pt>
                <c:pt idx="502">
                  <c:v>-0.040707242284113265</c:v>
                </c:pt>
                <c:pt idx="503">
                  <c:v>-0.040707242284113265</c:v>
                </c:pt>
                <c:pt idx="504">
                  <c:v>-0.032422299709321534</c:v>
                </c:pt>
                <c:pt idx="505">
                  <c:v>-0.026787845169802704</c:v>
                </c:pt>
                <c:pt idx="506">
                  <c:v>-0.02539876582298095</c:v>
                </c:pt>
                <c:pt idx="507">
                  <c:v>-0.009832551197613726</c:v>
                </c:pt>
                <c:pt idx="508">
                  <c:v>0.0009749322806571481</c:v>
                </c:pt>
                <c:pt idx="509">
                  <c:v>0.0009749322806571481</c:v>
                </c:pt>
                <c:pt idx="510">
                  <c:v>0.0009749322806571481</c:v>
                </c:pt>
                <c:pt idx="511">
                  <c:v>-0.012096448978106245</c:v>
                </c:pt>
                <c:pt idx="512">
                  <c:v>-0.0004367231446046338</c:v>
                </c:pt>
                <c:pt idx="513">
                  <c:v>0.017007620569229553</c:v>
                </c:pt>
                <c:pt idx="514">
                  <c:v>0.039626429705581945</c:v>
                </c:pt>
                <c:pt idx="515">
                  <c:v>0.02568424256041557</c:v>
                </c:pt>
                <c:pt idx="516">
                  <c:v>0.02568424256041557</c:v>
                </c:pt>
                <c:pt idx="517">
                  <c:v>0.02568424256041557</c:v>
                </c:pt>
                <c:pt idx="518">
                  <c:v>0.01844154475623827</c:v>
                </c:pt>
                <c:pt idx="519">
                  <c:v>0.020927135837764288</c:v>
                </c:pt>
                <c:pt idx="520">
                  <c:v>0.009725552117896497</c:v>
                </c:pt>
                <c:pt idx="521">
                  <c:v>0.013531745778530446</c:v>
                </c:pt>
                <c:pt idx="522">
                  <c:v>0.0023007207916689865</c:v>
                </c:pt>
                <c:pt idx="523">
                  <c:v>0.0023007207916689865</c:v>
                </c:pt>
                <c:pt idx="524">
                  <c:v>0.0023007207916689865</c:v>
                </c:pt>
                <c:pt idx="525">
                  <c:v>0.01224449072536471</c:v>
                </c:pt>
                <c:pt idx="526">
                  <c:v>0.020738445406593753</c:v>
                </c:pt>
                <c:pt idx="527">
                  <c:v>0.02341980594377313</c:v>
                </c:pt>
                <c:pt idx="528">
                  <c:v>0.01640408836318663</c:v>
                </c:pt>
                <c:pt idx="529">
                  <c:v>0.006373467705350855</c:v>
                </c:pt>
                <c:pt idx="530">
                  <c:v>0.006373467705350855</c:v>
                </c:pt>
                <c:pt idx="531">
                  <c:v>0.006373467705350855</c:v>
                </c:pt>
                <c:pt idx="532">
                  <c:v>0.005073857646409996</c:v>
                </c:pt>
                <c:pt idx="533">
                  <c:v>-0.002933049180094738</c:v>
                </c:pt>
                <c:pt idx="534">
                  <c:v>-0.006808461599748128</c:v>
                </c:pt>
                <c:pt idx="535">
                  <c:v>0.009164722576498141</c:v>
                </c:pt>
                <c:pt idx="536">
                  <c:v>-0.007385103440669116</c:v>
                </c:pt>
                <c:pt idx="537">
                  <c:v>-0.007385103440669116</c:v>
                </c:pt>
                <c:pt idx="538">
                  <c:v>-0.007385103440669116</c:v>
                </c:pt>
                <c:pt idx="539">
                  <c:v>0.0023274118215643735</c:v>
                </c:pt>
                <c:pt idx="540">
                  <c:v>0.0067162680378192174</c:v>
                </c:pt>
                <c:pt idx="541">
                  <c:v>0.014646476728880309</c:v>
                </c:pt>
                <c:pt idx="542">
                  <c:v>0.018433883228249348</c:v>
                </c:pt>
                <c:pt idx="543">
                  <c:v>0.04268775555121174</c:v>
                </c:pt>
                <c:pt idx="544">
                  <c:v>0.04268775555121174</c:v>
                </c:pt>
                <c:pt idx="545">
                  <c:v>0.04268775555121174</c:v>
                </c:pt>
                <c:pt idx="546">
                  <c:v>0.040711653225282696</c:v>
                </c:pt>
                <c:pt idx="547">
                  <c:v>0.029273975643220984</c:v>
                </c:pt>
                <c:pt idx="548">
                  <c:v>0.032202816042337545</c:v>
                </c:pt>
                <c:pt idx="549">
                  <c:v>0.014470719080338368</c:v>
                </c:pt>
                <c:pt idx="550">
                  <c:v>-0.001148979582143883</c:v>
                </c:pt>
                <c:pt idx="551">
                  <c:v>-0.001148979582143883</c:v>
                </c:pt>
                <c:pt idx="552">
                  <c:v>-0.001148979582143883</c:v>
                </c:pt>
                <c:pt idx="553">
                  <c:v>-0.003982549910280797</c:v>
                </c:pt>
                <c:pt idx="554">
                  <c:v>0.024062071834275445</c:v>
                </c:pt>
                <c:pt idx="555">
                  <c:v>0.003580051997812417</c:v>
                </c:pt>
                <c:pt idx="556">
                  <c:v>0.028236340109607072</c:v>
                </c:pt>
                <c:pt idx="557">
                  <c:v>0.021131176893685266</c:v>
                </c:pt>
                <c:pt idx="558">
                  <c:v>0.021131176893685266</c:v>
                </c:pt>
                <c:pt idx="559">
                  <c:v>0.021131176893685266</c:v>
                </c:pt>
                <c:pt idx="560">
                  <c:v>0.01280635713329037</c:v>
                </c:pt>
                <c:pt idx="561">
                  <c:v>0.05162185549069287</c:v>
                </c:pt>
                <c:pt idx="562">
                  <c:v>0.05288703028180164</c:v>
                </c:pt>
                <c:pt idx="563">
                  <c:v>0.06975599615936079</c:v>
                </c:pt>
                <c:pt idx="564">
                  <c:v>0.0748781153573872</c:v>
                </c:pt>
                <c:pt idx="565">
                  <c:v>0.0748781153573872</c:v>
                </c:pt>
                <c:pt idx="566">
                  <c:v>0.0748781153573872</c:v>
                </c:pt>
                <c:pt idx="567">
                  <c:v>0.0767025385416451</c:v>
                </c:pt>
                <c:pt idx="568">
                  <c:v>0.0846049037187322</c:v>
                </c:pt>
                <c:pt idx="569">
                  <c:v>0.09564839544966386</c:v>
                </c:pt>
                <c:pt idx="570">
                  <c:v>0.108860396456129</c:v>
                </c:pt>
                <c:pt idx="571">
                  <c:v>0.1260826161775621</c:v>
                </c:pt>
                <c:pt idx="572">
                  <c:v>0.1260826161775621</c:v>
                </c:pt>
                <c:pt idx="573">
                  <c:v>0.1260826161775621</c:v>
                </c:pt>
                <c:pt idx="574">
                  <c:v>0.11586956123160186</c:v>
                </c:pt>
                <c:pt idx="575">
                  <c:v>0.07943926233089327</c:v>
                </c:pt>
                <c:pt idx="576">
                  <c:v>0.05031714330528736</c:v>
                </c:pt>
                <c:pt idx="577">
                  <c:v>0.027890961611268805</c:v>
                </c:pt>
                <c:pt idx="578">
                  <c:v>0.020758058952779157</c:v>
                </c:pt>
                <c:pt idx="579">
                  <c:v>0.020758058952779157</c:v>
                </c:pt>
                <c:pt idx="580">
                  <c:v>0.020758058952779157</c:v>
                </c:pt>
                <c:pt idx="581">
                  <c:v>0.01459531971392436</c:v>
                </c:pt>
                <c:pt idx="582">
                  <c:v>0.02981974027026979</c:v>
                </c:pt>
                <c:pt idx="583">
                  <c:v>-0.0021022350022062986</c:v>
                </c:pt>
                <c:pt idx="584">
                  <c:v>-0.018302351386821347</c:v>
                </c:pt>
                <c:pt idx="585">
                  <c:v>-0.019925116508457963</c:v>
                </c:pt>
                <c:pt idx="586">
                  <c:v>-0.019925116508457963</c:v>
                </c:pt>
                <c:pt idx="587">
                  <c:v>-0.019925116508457963</c:v>
                </c:pt>
                <c:pt idx="588">
                  <c:v>-0.039222645098356934</c:v>
                </c:pt>
                <c:pt idx="589">
                  <c:v>-0.06418374540958027</c:v>
                </c:pt>
                <c:pt idx="590">
                  <c:v>-0.0682124921670163</c:v>
                </c:pt>
                <c:pt idx="591">
                  <c:v>-0.09298345287288945</c:v>
                </c:pt>
                <c:pt idx="592">
                  <c:v>-0.10712391028524693</c:v>
                </c:pt>
                <c:pt idx="593">
                  <c:v>-0.10712391028524693</c:v>
                </c:pt>
                <c:pt idx="594">
                  <c:v>-0.10712391028524693</c:v>
                </c:pt>
                <c:pt idx="595">
                  <c:v>-0.09785201101554786</c:v>
                </c:pt>
                <c:pt idx="596">
                  <c:v>-0.11602745499132339</c:v>
                </c:pt>
                <c:pt idx="597">
                  <c:v>-0.10408348089549624</c:v>
                </c:pt>
                <c:pt idx="598">
                  <c:v>-0.0846219732324549</c:v>
                </c:pt>
                <c:pt idx="599">
                  <c:v>-0.07660711445636958</c:v>
                </c:pt>
                <c:pt idx="600">
                  <c:v>-0.07660711445636958</c:v>
                </c:pt>
                <c:pt idx="601">
                  <c:v>-0.07660711445636958</c:v>
                </c:pt>
                <c:pt idx="602">
                  <c:v>-0.08605112879641652</c:v>
                </c:pt>
                <c:pt idx="603">
                  <c:v>-0.08515671705725592</c:v>
                </c:pt>
                <c:pt idx="604">
                  <c:v>-0.08686500534516828</c:v>
                </c:pt>
                <c:pt idx="605">
                  <c:v>-0.08759703713535338</c:v>
                </c:pt>
                <c:pt idx="606">
                  <c:v>-0.06257226459077159</c:v>
                </c:pt>
                <c:pt idx="607">
                  <c:v>-0.06257226459077159</c:v>
                </c:pt>
                <c:pt idx="608">
                  <c:v>-0.06257226459077159</c:v>
                </c:pt>
                <c:pt idx="609">
                  <c:v>-0.05624952387898574</c:v>
                </c:pt>
                <c:pt idx="610">
                  <c:v>-0.05812604044532632</c:v>
                </c:pt>
                <c:pt idx="611">
                  <c:v>-0.04861538797512743</c:v>
                </c:pt>
                <c:pt idx="612">
                  <c:v>-0.05011789139650502</c:v>
                </c:pt>
                <c:pt idx="613">
                  <c:v>-0.048919114432040334</c:v>
                </c:pt>
                <c:pt idx="614">
                  <c:v>-0.048919114432040334</c:v>
                </c:pt>
                <c:pt idx="615">
                  <c:v>-0.048919114432040334</c:v>
                </c:pt>
                <c:pt idx="616">
                  <c:v>-0.03898120889832479</c:v>
                </c:pt>
                <c:pt idx="617">
                  <c:v>-0.019018866643820798</c:v>
                </c:pt>
                <c:pt idx="618">
                  <c:v>-0.012520477051403023</c:v>
                </c:pt>
                <c:pt idx="619">
                  <c:v>-0.010403449141084264</c:v>
                </c:pt>
                <c:pt idx="620">
                  <c:v>-0.01011479309075336</c:v>
                </c:pt>
                <c:pt idx="621">
                  <c:v>-0.01011479309075336</c:v>
                </c:pt>
                <c:pt idx="622">
                  <c:v>-0.01011479309075336</c:v>
                </c:pt>
                <c:pt idx="623">
                  <c:v>-2.9092624341697793e-05</c:v>
                </c:pt>
                <c:pt idx="624">
                  <c:v>-0.008856244476383002</c:v>
                </c:pt>
                <c:pt idx="625">
                  <c:v>-0.005542576147396172</c:v>
                </c:pt>
                <c:pt idx="626">
                  <c:v>0.017012752655604757</c:v>
                </c:pt>
                <c:pt idx="627">
                  <c:v>0.040624915087871916</c:v>
                </c:pt>
                <c:pt idx="628">
                  <c:v>0.040624915087871916</c:v>
                </c:pt>
                <c:pt idx="629">
                  <c:v>0.040624915087871916</c:v>
                </c:pt>
                <c:pt idx="630">
                  <c:v>0.037059093745110516</c:v>
                </c:pt>
                <c:pt idx="631">
                  <c:v>0.04015319174706944</c:v>
                </c:pt>
                <c:pt idx="632">
                  <c:v>0.02530637993570939</c:v>
                </c:pt>
                <c:pt idx="633">
                  <c:v>0.04934711011720894</c:v>
                </c:pt>
                <c:pt idx="634">
                  <c:v>0.06501559316800454</c:v>
                </c:pt>
                <c:pt idx="635">
                  <c:v>0.06501559316800454</c:v>
                </c:pt>
                <c:pt idx="636">
                  <c:v>0.06501559316800454</c:v>
                </c:pt>
                <c:pt idx="637">
                  <c:v>0.07831378204934492</c:v>
                </c:pt>
                <c:pt idx="638">
                  <c:v>0.08006074843656652</c:v>
                </c:pt>
                <c:pt idx="639">
                  <c:v>0.08672250266244608</c:v>
                </c:pt>
                <c:pt idx="640">
                  <c:v>0.0964931606072772</c:v>
                </c:pt>
                <c:pt idx="641">
                  <c:v>0.1038500140732721</c:v>
                </c:pt>
                <c:pt idx="642">
                  <c:v>0.1038500140732721</c:v>
                </c:pt>
                <c:pt idx="643">
                  <c:v>0.1038500140732721</c:v>
                </c:pt>
                <c:pt idx="644">
                  <c:v>0.11238608660826488</c:v>
                </c:pt>
                <c:pt idx="645">
                  <c:v>0.10717824027753031</c:v>
                </c:pt>
                <c:pt idx="646">
                  <c:v>0.07014943349173675</c:v>
                </c:pt>
                <c:pt idx="647">
                  <c:v>0.08459963589524877</c:v>
                </c:pt>
                <c:pt idx="648">
                  <c:v>0.10151082837535053</c:v>
                </c:pt>
                <c:pt idx="649">
                  <c:v>0.10151082837535053</c:v>
                </c:pt>
                <c:pt idx="650">
                  <c:v>0.10151082837535053</c:v>
                </c:pt>
                <c:pt idx="651">
                  <c:v>0.0957116764184387</c:v>
                </c:pt>
                <c:pt idx="652">
                  <c:v>0.09614821380086602</c:v>
                </c:pt>
                <c:pt idx="653">
                  <c:v>-0.019568317759601994</c:v>
                </c:pt>
                <c:pt idx="654">
                  <c:v>-0.02084668519625732</c:v>
                </c:pt>
                <c:pt idx="655">
                  <c:v>-0.015877702599200072</c:v>
                </c:pt>
                <c:pt idx="656">
                  <c:v>-0.015877702599200072</c:v>
                </c:pt>
                <c:pt idx="657">
                  <c:v>-0.015877702599200072</c:v>
                </c:pt>
                <c:pt idx="658">
                  <c:v>-0.06411912475753112</c:v>
                </c:pt>
                <c:pt idx="659">
                  <c:v>-0.0481499246695033</c:v>
                </c:pt>
                <c:pt idx="660">
                  <c:v>-0.04234368578410608</c:v>
                </c:pt>
                <c:pt idx="661">
                  <c:v>-0.04224548069835532</c:v>
                </c:pt>
                <c:pt idx="662">
                  <c:v>-0.0193780058995624</c:v>
                </c:pt>
                <c:pt idx="663">
                  <c:v>-0.0193780058995624</c:v>
                </c:pt>
                <c:pt idx="664">
                  <c:v>-0.0193780058995624</c:v>
                </c:pt>
                <c:pt idx="665">
                  <c:v>-0.004462327660363585</c:v>
                </c:pt>
                <c:pt idx="666">
                  <c:v>0.010010653702980932</c:v>
                </c:pt>
                <c:pt idx="667">
                  <c:v>0.006198687637722244</c:v>
                </c:pt>
                <c:pt idx="668">
                  <c:v>-0.01890946805000404</c:v>
                </c:pt>
                <c:pt idx="669">
                  <c:v>0.027873106079332244</c:v>
                </c:pt>
                <c:pt idx="670">
                  <c:v>0.027873106079332244</c:v>
                </c:pt>
                <c:pt idx="671">
                  <c:v>0.027873106079332244</c:v>
                </c:pt>
                <c:pt idx="672">
                  <c:v>0.006481636328558471</c:v>
                </c:pt>
                <c:pt idx="673">
                  <c:v>0.03323521090365933</c:v>
                </c:pt>
                <c:pt idx="674">
                  <c:v>0.06141219095001271</c:v>
                </c:pt>
                <c:pt idx="675">
                  <c:v>0.07581264984565461</c:v>
                </c:pt>
                <c:pt idx="676">
                  <c:v>0.08378854457069607</c:v>
                </c:pt>
                <c:pt idx="677">
                  <c:v>0.08378854457069607</c:v>
                </c:pt>
                <c:pt idx="678">
                  <c:v>0.08378854457069607</c:v>
                </c:pt>
                <c:pt idx="679">
                  <c:v>0.09505636422534591</c:v>
                </c:pt>
                <c:pt idx="680">
                  <c:v>0.11689185052697493</c:v>
                </c:pt>
                <c:pt idx="681">
                  <c:v>0.11869370815944458</c:v>
                </c:pt>
                <c:pt idx="682">
                  <c:v>0.10743921504504228</c:v>
                </c:pt>
                <c:pt idx="683">
                  <c:v>0.11316540510886797</c:v>
                </c:pt>
                <c:pt idx="684">
                  <c:v>0.11316540510886797</c:v>
                </c:pt>
                <c:pt idx="685">
                  <c:v>0.11316540510886797</c:v>
                </c:pt>
                <c:pt idx="686">
                  <c:v>0.12188459310074817</c:v>
                </c:pt>
                <c:pt idx="687">
                  <c:v>0.13096352654317944</c:v>
                </c:pt>
                <c:pt idx="688">
                  <c:v>0.12317414935909787</c:v>
                </c:pt>
                <c:pt idx="689">
                  <c:v>0.08336536380273363</c:v>
                </c:pt>
                <c:pt idx="690">
                  <c:v>0.08244767107842232</c:v>
                </c:pt>
                <c:pt idx="691">
                  <c:v>0.08244767107842232</c:v>
                </c:pt>
                <c:pt idx="692">
                  <c:v>0.08244767107842232</c:v>
                </c:pt>
                <c:pt idx="693">
                  <c:v>0.09008407684590436</c:v>
                </c:pt>
                <c:pt idx="694">
                  <c:v>0.10706791196482213</c:v>
                </c:pt>
                <c:pt idx="695">
                  <c:v>0.08860829218954103</c:v>
                </c:pt>
                <c:pt idx="696">
                  <c:v>0.09834164912635801</c:v>
                </c:pt>
                <c:pt idx="697">
                  <c:v>0.09773942227557564</c:v>
                </c:pt>
                <c:pt idx="698">
                  <c:v>0.09773942227557564</c:v>
                </c:pt>
                <c:pt idx="699">
                  <c:v>0.09773942227557564</c:v>
                </c:pt>
                <c:pt idx="700">
                  <c:v>0.09949697794573331</c:v>
                </c:pt>
                <c:pt idx="701">
                  <c:v>0.11284893828119258</c:v>
                </c:pt>
                <c:pt idx="702">
                  <c:v>0.07500411583663058</c:v>
                </c:pt>
                <c:pt idx="703">
                  <c:v>0.059003099866462794</c:v>
                </c:pt>
                <c:pt idx="704">
                  <c:v>0.055376905379258545</c:v>
                </c:pt>
                <c:pt idx="705">
                  <c:v>0.055376905379258545</c:v>
                </c:pt>
                <c:pt idx="706">
                  <c:v>0.055376905379258545</c:v>
                </c:pt>
                <c:pt idx="707">
                  <c:v>0.07061505656676337</c:v>
                </c:pt>
                <c:pt idx="708">
                  <c:v>0.06329745403547427</c:v>
                </c:pt>
                <c:pt idx="709">
                  <c:v>0.061816359807573606</c:v>
                </c:pt>
                <c:pt idx="710">
                  <c:v>0.060884806793739976</c:v>
                </c:pt>
                <c:pt idx="711">
                  <c:v>0.056858416424434566</c:v>
                </c:pt>
                <c:pt idx="712">
                  <c:v>0.056858416424434566</c:v>
                </c:pt>
                <c:pt idx="713">
                  <c:v>0.056858416424434566</c:v>
                </c:pt>
                <c:pt idx="714">
                  <c:v>0.057801806914050236</c:v>
                </c:pt>
                <c:pt idx="715">
                  <c:v>0.06488120950482079</c:v>
                </c:pt>
                <c:pt idx="716">
                  <c:v>0.07511887639621895</c:v>
                </c:pt>
                <c:pt idx="717">
                  <c:v>0.0677305389002032</c:v>
                </c:pt>
                <c:pt idx="718">
                  <c:v>0.07589453502396992</c:v>
                </c:pt>
                <c:pt idx="719">
                  <c:v>0.07589453502396992</c:v>
                </c:pt>
                <c:pt idx="720">
                  <c:v>0.07589453502396992</c:v>
                </c:pt>
                <c:pt idx="721">
                  <c:v>0.0949291015246847</c:v>
                </c:pt>
                <c:pt idx="722">
                  <c:v>0.11925315243024626</c:v>
                </c:pt>
                <c:pt idx="723">
                  <c:v>0.1334175475785635</c:v>
                </c:pt>
                <c:pt idx="724">
                  <c:v>0.1276096184890485</c:v>
                </c:pt>
                <c:pt idx="725">
                  <c:v>0.1379482493247537</c:v>
                </c:pt>
                <c:pt idx="726">
                  <c:v>0.1379482493247537</c:v>
                </c:pt>
                <c:pt idx="727">
                  <c:v>0.1379482493247537</c:v>
                </c:pt>
                <c:pt idx="728">
                  <c:v>0.14797889931976638</c:v>
                </c:pt>
                <c:pt idx="729">
                  <c:v>0.14152997861434646</c:v>
                </c:pt>
                <c:pt idx="730">
                  <c:v>0.1407604401665148</c:v>
                </c:pt>
                <c:pt idx="731">
                  <c:v>0.13009217864054312</c:v>
                </c:pt>
                <c:pt idx="732">
                  <c:v>0.13490929984529632</c:v>
                </c:pt>
                <c:pt idx="733">
                  <c:v>0.13490929984529632</c:v>
                </c:pt>
                <c:pt idx="734">
                  <c:v>0.13490929984529632</c:v>
                </c:pt>
                <c:pt idx="735">
                  <c:v>0.14768925112831943</c:v>
                </c:pt>
                <c:pt idx="736">
                  <c:v>0.14572321538798216</c:v>
                </c:pt>
                <c:pt idx="737">
                  <c:v>0.1536696494356089</c:v>
                </c:pt>
                <c:pt idx="738">
                  <c:v>0.16726024291765595</c:v>
                </c:pt>
                <c:pt idx="739">
                  <c:v>0.12445613261588728</c:v>
                </c:pt>
                <c:pt idx="740">
                  <c:v>0.12445613261588728</c:v>
                </c:pt>
                <c:pt idx="741">
                  <c:v>0.12445613261588728</c:v>
                </c:pt>
                <c:pt idx="742">
                  <c:v>0.11903205998901334</c:v>
                </c:pt>
                <c:pt idx="743">
                  <c:v>0.12424639184302477</c:v>
                </c:pt>
                <c:pt idx="744">
                  <c:v>0.1184085959770198</c:v>
                </c:pt>
                <c:pt idx="745">
                  <c:v>0.11270788093646633</c:v>
                </c:pt>
                <c:pt idx="746">
                  <c:v>0.11649170252720986</c:v>
                </c:pt>
                <c:pt idx="747">
                  <c:v>0.11649170252720986</c:v>
                </c:pt>
                <c:pt idx="748">
                  <c:v>0.11649170252720986</c:v>
                </c:pt>
                <c:pt idx="749">
                  <c:v>0.11039744590141964</c:v>
                </c:pt>
                <c:pt idx="750">
                  <c:v>0.10634625661049779</c:v>
                </c:pt>
                <c:pt idx="751">
                  <c:v>0.10480331351558347</c:v>
                </c:pt>
                <c:pt idx="752">
                  <c:v>0.1020730054601624</c:v>
                </c:pt>
                <c:pt idx="753">
                  <c:v>0.11055634843578943</c:v>
                </c:pt>
                <c:pt idx="754">
                  <c:v>0.11055634843578943</c:v>
                </c:pt>
                <c:pt idx="755">
                  <c:v>0.11055634843578943</c:v>
                </c:pt>
                <c:pt idx="756">
                  <c:v>0.11339079100815841</c:v>
                </c:pt>
                <c:pt idx="757">
                  <c:v>0.09744416080827434</c:v>
                </c:pt>
                <c:pt idx="758">
                  <c:v>0.11082821694802103</c:v>
                </c:pt>
                <c:pt idx="759">
                  <c:v>0.11051284301163933</c:v>
                </c:pt>
                <c:pt idx="760">
                  <c:v>0.13073138082572466</c:v>
                </c:pt>
                <c:pt idx="761">
                  <c:v>0.13073138082572466</c:v>
                </c:pt>
                <c:pt idx="762">
                  <c:v>0.13073138082572466</c:v>
                </c:pt>
                <c:pt idx="763">
                  <c:v>0.13157378215784687</c:v>
                </c:pt>
                <c:pt idx="764">
                  <c:v>0.15802730995858205</c:v>
                </c:pt>
                <c:pt idx="765">
                  <c:v>0.16554079358183715</c:v>
                </c:pt>
                <c:pt idx="766">
                  <c:v>0.16754871574441976</c:v>
                </c:pt>
                <c:pt idx="767">
                  <c:v>0.14892609077205377</c:v>
                </c:pt>
                <c:pt idx="768">
                  <c:v>0.14892609077205377</c:v>
                </c:pt>
                <c:pt idx="769">
                  <c:v>0.14892609077205377</c:v>
                </c:pt>
                <c:pt idx="770">
                  <c:v>0.14897709956505922</c:v>
                </c:pt>
                <c:pt idx="771">
                  <c:v>0.14549653397797235</c:v>
                </c:pt>
                <c:pt idx="772">
                  <c:v>0.12852974685254548</c:v>
                </c:pt>
                <c:pt idx="773">
                  <c:v>0.1287549580815588</c:v>
                </c:pt>
                <c:pt idx="774">
                  <c:v>0.10874835672042882</c:v>
                </c:pt>
                <c:pt idx="775">
                  <c:v>0.10874835672042882</c:v>
                </c:pt>
                <c:pt idx="776">
                  <c:v>0.10874835672042882</c:v>
                </c:pt>
                <c:pt idx="777">
                  <c:v>0.11370302330259863</c:v>
                </c:pt>
                <c:pt idx="778">
                  <c:v>0.1255216726031474</c:v>
                </c:pt>
                <c:pt idx="779">
                  <c:v>0.1056343346701425</c:v>
                </c:pt>
                <c:pt idx="780">
                  <c:v>0.10210718534822738</c:v>
                </c:pt>
                <c:pt idx="781">
                  <c:v>0.1040670171932141</c:v>
                </c:pt>
                <c:pt idx="782">
                  <c:v>0.1040670171932141</c:v>
                </c:pt>
                <c:pt idx="783">
                  <c:v>0.1040670171932141</c:v>
                </c:pt>
                <c:pt idx="784">
                  <c:v>0.10205540321469808</c:v>
                </c:pt>
                <c:pt idx="785">
                  <c:v>0.1034625869520025</c:v>
                </c:pt>
                <c:pt idx="786">
                  <c:v>0.11365177245823976</c:v>
                </c:pt>
                <c:pt idx="787">
                  <c:v>0.1369151013636647</c:v>
                </c:pt>
                <c:pt idx="788">
                  <c:v>0.15050018399097365</c:v>
                </c:pt>
                <c:pt idx="789">
                  <c:v>0.15050018399097365</c:v>
                </c:pt>
                <c:pt idx="790">
                  <c:v>0.15050018399097365</c:v>
                </c:pt>
                <c:pt idx="791">
                  <c:v>0.15275701227969685</c:v>
                </c:pt>
                <c:pt idx="792">
                  <c:v>0.1611704192128045</c:v>
                </c:pt>
                <c:pt idx="793">
                  <c:v>0.18017617351751714</c:v>
                </c:pt>
                <c:pt idx="794">
                  <c:v>0.1875967786677455</c:v>
                </c:pt>
                <c:pt idx="795">
                  <c:v>0.20927332256135345</c:v>
                </c:pt>
                <c:pt idx="796">
                  <c:v>0.20927332256135345</c:v>
                </c:pt>
                <c:pt idx="797">
                  <c:v>0.20927332256135345</c:v>
                </c:pt>
                <c:pt idx="798">
                  <c:v>0.20899191361156877</c:v>
                </c:pt>
                <c:pt idx="799">
                  <c:v>0.23924042482929986</c:v>
                </c:pt>
                <c:pt idx="800">
                  <c:v>0.24663375299788215</c:v>
                </c:pt>
                <c:pt idx="801">
                  <c:v>0.25114033894059595</c:v>
                </c:pt>
                <c:pt idx="802">
                  <c:v>0.2632313022082482</c:v>
                </c:pt>
                <c:pt idx="803">
                  <c:v>0.2632313022082482</c:v>
                </c:pt>
                <c:pt idx="804">
                  <c:v>0.2632313022082482</c:v>
                </c:pt>
                <c:pt idx="805">
                  <c:v>0.27439155875145405</c:v>
                </c:pt>
                <c:pt idx="806">
                  <c:v>0.2709261900804132</c:v>
                </c:pt>
                <c:pt idx="807">
                  <c:v>0.2706682547492565</c:v>
                </c:pt>
                <c:pt idx="808">
                  <c:v>0.27441539946097704</c:v>
                </c:pt>
                <c:pt idx="809">
                  <c:v>0.27511261179452107</c:v>
                </c:pt>
                <c:pt idx="810">
                  <c:v>0.27511261179452107</c:v>
                </c:pt>
                <c:pt idx="811">
                  <c:v>0.27511261179452107</c:v>
                </c:pt>
                <c:pt idx="812">
                  <c:v>0.27754099685296274</c:v>
                </c:pt>
                <c:pt idx="813">
                  <c:v>0.2868034615504049</c:v>
                </c:pt>
                <c:pt idx="814">
                  <c:v>0.28988313414270817</c:v>
                </c:pt>
                <c:pt idx="815">
                  <c:v>0.2939466090460754</c:v>
                </c:pt>
                <c:pt idx="816">
                  <c:v>0.294960383250104</c:v>
                </c:pt>
                <c:pt idx="817">
                  <c:v>0.294960383250104</c:v>
                </c:pt>
                <c:pt idx="818">
                  <c:v>0.294960383250104</c:v>
                </c:pt>
                <c:pt idx="819">
                  <c:v>0.2811233813282292</c:v>
                </c:pt>
                <c:pt idx="820">
                  <c:v>0.28331939333098033</c:v>
                </c:pt>
                <c:pt idx="821">
                  <c:v>0.28716413755235015</c:v>
                </c:pt>
                <c:pt idx="822">
                  <c:v>0.30366222763882966</c:v>
                </c:pt>
                <c:pt idx="823">
                  <c:v>0.32355439173466793</c:v>
                </c:pt>
                <c:pt idx="824">
                  <c:v>0.32355439173466793</c:v>
                </c:pt>
                <c:pt idx="825">
                  <c:v>0.32355439173466793</c:v>
                </c:pt>
                <c:pt idx="826">
                  <c:v>0.31018855147585556</c:v>
                </c:pt>
                <c:pt idx="827">
                  <c:v>0.33020195094028715</c:v>
                </c:pt>
                <c:pt idx="828">
                  <c:v>0.3485295934145336</c:v>
                </c:pt>
                <c:pt idx="829">
                  <c:v>0.362785489700282</c:v>
                </c:pt>
                <c:pt idx="830">
                  <c:v>0.37289625612860466</c:v>
                </c:pt>
                <c:pt idx="831">
                  <c:v>0.37289625612860466</c:v>
                </c:pt>
                <c:pt idx="832">
                  <c:v>0.37289625612860466</c:v>
                </c:pt>
                <c:pt idx="833">
                  <c:v>0.40435356677037104</c:v>
                </c:pt>
                <c:pt idx="834">
                  <c:v>0.41367158913112023</c:v>
                </c:pt>
                <c:pt idx="835">
                  <c:v>0.40795115817713956</c:v>
                </c:pt>
                <c:pt idx="836">
                  <c:v>0.4314469381285786</c:v>
                </c:pt>
                <c:pt idx="837">
                  <c:v>0.4295547872803225</c:v>
                </c:pt>
                <c:pt idx="838">
                  <c:v>0.4295547872803225</c:v>
                </c:pt>
                <c:pt idx="839">
                  <c:v>0.4295547872803225</c:v>
                </c:pt>
                <c:pt idx="840">
                  <c:v>0.435776527374103</c:v>
                </c:pt>
                <c:pt idx="841">
                  <c:v>0.44006826853855463</c:v>
                </c:pt>
                <c:pt idx="842">
                  <c:v>0.45065317842899444</c:v>
                </c:pt>
                <c:pt idx="843">
                  <c:v>0.4600995472298548</c:v>
                </c:pt>
                <c:pt idx="844">
                  <c:v>0.4696970664177418</c:v>
                </c:pt>
                <c:pt idx="845">
                  <c:v>0.4696970664177418</c:v>
                </c:pt>
                <c:pt idx="846">
                  <c:v>0.4696970664177418</c:v>
                </c:pt>
                <c:pt idx="847">
                  <c:v>0.4678069279068633</c:v>
                </c:pt>
                <c:pt idx="848">
                  <c:v>0.45032486464178345</c:v>
                </c:pt>
                <c:pt idx="849">
                  <c:v>0.4304150965975837</c:v>
                </c:pt>
                <c:pt idx="850">
                  <c:v>0.4327878039012443</c:v>
                </c:pt>
                <c:pt idx="851">
                  <c:v>0.43675602914121847</c:v>
                </c:pt>
                <c:pt idx="852">
                  <c:v>0.43675602914121847</c:v>
                </c:pt>
                <c:pt idx="853">
                  <c:v>0.43675602914121847</c:v>
                </c:pt>
                <c:pt idx="854">
                  <c:v>0.4549095925016464</c:v>
                </c:pt>
                <c:pt idx="855">
                  <c:v>0.4640335910009181</c:v>
                </c:pt>
                <c:pt idx="856">
                  <c:v>0.47166009397976594</c:v>
                </c:pt>
                <c:pt idx="857">
                  <c:v>0.47215728495529286</c:v>
                </c:pt>
                <c:pt idx="858">
                  <c:v>0.4760357809229303</c:v>
                </c:pt>
                <c:pt idx="859">
                  <c:v>0.4760357809229303</c:v>
                </c:pt>
                <c:pt idx="860">
                  <c:v>0.4760357809229303</c:v>
                </c:pt>
                <c:pt idx="861">
                  <c:v>0.4724064865640727</c:v>
                </c:pt>
                <c:pt idx="862">
                  <c:v>0.47597335063150314</c:v>
                </c:pt>
                <c:pt idx="863">
                  <c:v>0.472317431837874</c:v>
                </c:pt>
                <c:pt idx="864">
                  <c:v>0.48824423562368024</c:v>
                </c:pt>
                <c:pt idx="865">
                  <c:v>0.507961829580162</c:v>
                </c:pt>
                <c:pt idx="866">
                  <c:v>0.507961829580162</c:v>
                </c:pt>
                <c:pt idx="867">
                  <c:v>0.507961829580162</c:v>
                </c:pt>
                <c:pt idx="868">
                  <c:v>0.5134131311318355</c:v>
                </c:pt>
                <c:pt idx="869">
                  <c:v>0.5312300994067332</c:v>
                </c:pt>
                <c:pt idx="870">
                  <c:v>0.546897982610919</c:v>
                </c:pt>
                <c:pt idx="871">
                  <c:v>0.5600127532468664</c:v>
                </c:pt>
                <c:pt idx="872">
                  <c:v>0.565269845681657</c:v>
                </c:pt>
                <c:pt idx="873">
                  <c:v>0.565269845681657</c:v>
                </c:pt>
                <c:pt idx="874">
                  <c:v>0.565269845681657</c:v>
                </c:pt>
                <c:pt idx="875">
                  <c:v>0.5827178371321509</c:v>
                </c:pt>
                <c:pt idx="876">
                  <c:v>0.5875027818176732</c:v>
                </c:pt>
                <c:pt idx="877">
                  <c:v>0.5703529855061347</c:v>
                </c:pt>
                <c:pt idx="878">
                  <c:v>0.5837735204086121</c:v>
                </c:pt>
                <c:pt idx="879">
                  <c:v>0.6356589511664519</c:v>
                </c:pt>
                <c:pt idx="880">
                  <c:v>0.6356589511664519</c:v>
                </c:pt>
                <c:pt idx="881">
                  <c:v>0.6356589511664519</c:v>
                </c:pt>
                <c:pt idx="882">
                  <c:v>0.6448070635182575</c:v>
                </c:pt>
                <c:pt idx="883">
                  <c:v>0.633028413276399</c:v>
                </c:pt>
                <c:pt idx="884">
                  <c:v>0.6537192113415993</c:v>
                </c:pt>
                <c:pt idx="885">
                  <c:v>0.6471088813221408</c:v>
                </c:pt>
                <c:pt idx="886">
                  <c:v>0.6580614675051057</c:v>
                </c:pt>
                <c:pt idx="887">
                  <c:v>0.6580614675051057</c:v>
                </c:pt>
                <c:pt idx="888">
                  <c:v>0.6580614675051057</c:v>
                </c:pt>
                <c:pt idx="889">
                  <c:v>0.6568501360392387</c:v>
                </c:pt>
                <c:pt idx="890">
                  <c:v>0.6313598863823822</c:v>
                </c:pt>
                <c:pt idx="891">
                  <c:v>0.6432213209559423</c:v>
                </c:pt>
                <c:pt idx="892">
                  <c:v>0.648965866678576</c:v>
                </c:pt>
                <c:pt idx="893">
                  <c:v>0.6196849060851828</c:v>
                </c:pt>
                <c:pt idx="894">
                  <c:v>0.6196849060851828</c:v>
                </c:pt>
                <c:pt idx="895">
                  <c:v>0.6196849060851828</c:v>
                </c:pt>
                <c:pt idx="896">
                  <c:v>0.5193714485237284</c:v>
                </c:pt>
                <c:pt idx="897">
                  <c:v>0.3886995281933161</c:v>
                </c:pt>
                <c:pt idx="898">
                  <c:v>0.38089244837217784</c:v>
                </c:pt>
                <c:pt idx="899">
                  <c:v>0.4361569270599406</c:v>
                </c:pt>
                <c:pt idx="900">
                  <c:v>0.434958992280559</c:v>
                </c:pt>
                <c:pt idx="901">
                  <c:v>0.434958992280559</c:v>
                </c:pt>
                <c:pt idx="902">
                  <c:v>0.434958992280559</c:v>
                </c:pt>
                <c:pt idx="903">
                  <c:v>0.4483322651591368</c:v>
                </c:pt>
                <c:pt idx="904">
                  <c:v>0.4533401775310659</c:v>
                </c:pt>
                <c:pt idx="905">
                  <c:v>0.46220768846225035</c:v>
                </c:pt>
                <c:pt idx="906">
                  <c:v>0.47164034520010856</c:v>
                </c:pt>
                <c:pt idx="907">
                  <c:v>0.5193143612449118</c:v>
                </c:pt>
                <c:pt idx="908">
                  <c:v>0.5193143612449118</c:v>
                </c:pt>
                <c:pt idx="909">
                  <c:v>0.5193143612449118</c:v>
                </c:pt>
                <c:pt idx="910">
                  <c:v>0.5213166006802761</c:v>
                </c:pt>
                <c:pt idx="911">
                  <c:v>0.5050115288370152</c:v>
                </c:pt>
                <c:pt idx="912">
                  <c:v>0.5402069276389434</c:v>
                </c:pt>
                <c:pt idx="913">
                  <c:v>0.5707992228099488</c:v>
                </c:pt>
                <c:pt idx="914">
                  <c:v>0.5638660572543233</c:v>
                </c:pt>
                <c:pt idx="915">
                  <c:v>0.5638660572543233</c:v>
                </c:pt>
                <c:pt idx="916">
                  <c:v>0.5638660572543233</c:v>
                </c:pt>
                <c:pt idx="917">
                  <c:v>0.5557510776980439</c:v>
                </c:pt>
                <c:pt idx="918">
                  <c:v>0.6076178249188124</c:v>
                </c:pt>
                <c:pt idx="919">
                  <c:v>0.6160497762705395</c:v>
                </c:pt>
                <c:pt idx="920">
                  <c:v>0.6034028470614683</c:v>
                </c:pt>
                <c:pt idx="921">
                  <c:v>0.6083898659463778</c:v>
                </c:pt>
                <c:pt idx="922">
                  <c:v>0.6083898659463778</c:v>
                </c:pt>
                <c:pt idx="923">
                  <c:v>0.6083898659463778</c:v>
                </c:pt>
                <c:pt idx="924">
                  <c:v>0.6327156438160941</c:v>
                </c:pt>
                <c:pt idx="925">
                  <c:v>0.6733078735849802</c:v>
                </c:pt>
                <c:pt idx="926">
                  <c:v>0.705794470722255</c:v>
                </c:pt>
                <c:pt idx="927">
                  <c:v>0.7276209589110687</c:v>
                </c:pt>
                <c:pt idx="928">
                  <c:v>0.7479273357243788</c:v>
                </c:pt>
                <c:pt idx="929">
                  <c:v>0.7479273357243788</c:v>
                </c:pt>
                <c:pt idx="930">
                  <c:v>0.7479273357243788</c:v>
                </c:pt>
                <c:pt idx="931">
                  <c:v>0.7484932693125554</c:v>
                </c:pt>
                <c:pt idx="932">
                  <c:v>0.7775993937345278</c:v>
                </c:pt>
                <c:pt idx="933">
                  <c:v>0.6832191172871203</c:v>
                </c:pt>
                <c:pt idx="934">
                  <c:v>0.6706662271402986</c:v>
                </c:pt>
                <c:pt idx="935">
                  <c:v>0.6417728067660504</c:v>
                </c:pt>
                <c:pt idx="936">
                  <c:v>0.6417728067660504</c:v>
                </c:pt>
                <c:pt idx="937">
                  <c:v>0.6417728067660504</c:v>
                </c:pt>
                <c:pt idx="938">
                  <c:v>0.6545822603269089</c:v>
                </c:pt>
                <c:pt idx="939">
                  <c:v>0.651766287855621</c:v>
                </c:pt>
                <c:pt idx="940">
                  <c:v>0.6436812232069749</c:v>
                </c:pt>
                <c:pt idx="941">
                  <c:v>0.6234238223731481</c:v>
                </c:pt>
                <c:pt idx="942">
                  <c:v>0.6392891651244696</c:v>
                </c:pt>
                <c:pt idx="943">
                  <c:v>0.6392891651244696</c:v>
                </c:pt>
                <c:pt idx="944">
                  <c:v>0.6392891651244696</c:v>
                </c:pt>
                <c:pt idx="945">
                  <c:v>0.6374144496273684</c:v>
                </c:pt>
                <c:pt idx="946">
                  <c:v>0.6293791685229722</c:v>
                </c:pt>
                <c:pt idx="947">
                  <c:v>0.644599370361413</c:v>
                </c:pt>
                <c:pt idx="948">
                  <c:v>0.6656320212472273</c:v>
                </c:pt>
                <c:pt idx="949">
                  <c:v>0.6424110077645295</c:v>
                </c:pt>
                <c:pt idx="950">
                  <c:v>0.6424110077645295</c:v>
                </c:pt>
                <c:pt idx="951">
                  <c:v>0.6424110077645295</c:v>
                </c:pt>
                <c:pt idx="952">
                  <c:v>0.611709938351261</c:v>
                </c:pt>
                <c:pt idx="953">
                  <c:v>0.6134293910613455</c:v>
                </c:pt>
                <c:pt idx="954">
                  <c:v>0.5957940225710672</c:v>
                </c:pt>
                <c:pt idx="955">
                  <c:v>0.6037403024459835</c:v>
                </c:pt>
                <c:pt idx="956">
                  <c:v>0.5911758636074811</c:v>
                </c:pt>
                <c:pt idx="957">
                  <c:v>0.5911758636074811</c:v>
                </c:pt>
                <c:pt idx="958">
                  <c:v>0.5911758636074811</c:v>
                </c:pt>
                <c:pt idx="959">
                  <c:v>0.6179818498640224</c:v>
                </c:pt>
                <c:pt idx="960">
                  <c:v>0.6590794248831069</c:v>
                </c:pt>
                <c:pt idx="961">
                  <c:v>0.6496223378976631</c:v>
                </c:pt>
                <c:pt idx="962">
                  <c:v>0.6571868082261687</c:v>
                </c:pt>
                <c:pt idx="963">
                  <c:v>0.7038264884803744</c:v>
                </c:pt>
                <c:pt idx="964">
                  <c:v>0.7038264884803744</c:v>
                </c:pt>
                <c:pt idx="965">
                  <c:v>0.7038264884803744</c:v>
                </c:pt>
                <c:pt idx="966">
                  <c:v>0.719935803193533</c:v>
                </c:pt>
                <c:pt idx="967">
                  <c:v>0.70314535155459</c:v>
                </c:pt>
                <c:pt idx="968">
                  <c:v>0.6998582842156638</c:v>
                </c:pt>
                <c:pt idx="969">
                  <c:v>0.7207234841986383</c:v>
                </c:pt>
                <c:pt idx="970">
                  <c:v>0.7605499114603662</c:v>
                </c:pt>
                <c:pt idx="971">
                  <c:v>0.7605499114603662</c:v>
                </c:pt>
                <c:pt idx="972">
                  <c:v>0.7605499114603662</c:v>
                </c:pt>
                <c:pt idx="973">
                  <c:v>0.7854507341697756</c:v>
                </c:pt>
                <c:pt idx="974">
                  <c:v>0.7977103593183552</c:v>
                </c:pt>
                <c:pt idx="975">
                  <c:v>0.795953618900624</c:v>
                </c:pt>
                <c:pt idx="976">
                  <c:v>0.8146467564702147</c:v>
                </c:pt>
                <c:pt idx="977">
                  <c:v>0.8245940564175698</c:v>
                </c:pt>
                <c:pt idx="978">
                  <c:v>0.8245940564175698</c:v>
                </c:pt>
                <c:pt idx="979">
                  <c:v>0.8245940564175698</c:v>
                </c:pt>
                <c:pt idx="980">
                  <c:v>0.8315723604980576</c:v>
                </c:pt>
                <c:pt idx="981">
                  <c:v>0.7366672608639178</c:v>
                </c:pt>
                <c:pt idx="982">
                  <c:v>0.712109152400241</c:v>
                </c:pt>
                <c:pt idx="983">
                  <c:v>0.7450513570329245</c:v>
                </c:pt>
                <c:pt idx="984">
                  <c:v>0.7173341473989436</c:v>
                </c:pt>
                <c:pt idx="985">
                  <c:v>0.7173341473989436</c:v>
                </c:pt>
                <c:pt idx="986">
                  <c:v>0.7173341473989436</c:v>
                </c:pt>
                <c:pt idx="987">
                  <c:v>0.7328199678976699</c:v>
                </c:pt>
                <c:pt idx="988">
                  <c:v>0.7623149391562309</c:v>
                </c:pt>
                <c:pt idx="989">
                  <c:v>0.760335415868866</c:v>
                </c:pt>
                <c:pt idx="990">
                  <c:v>0.7900647384037025</c:v>
                </c:pt>
                <c:pt idx="991">
                  <c:v>0.8409305895588208</c:v>
                </c:pt>
                <c:pt idx="992">
                  <c:v>0.8409305895588208</c:v>
                </c:pt>
                <c:pt idx="993">
                  <c:v>0.8409305895588208</c:v>
                </c:pt>
                <c:pt idx="994">
                  <c:v>0.8614904834137085</c:v>
                </c:pt>
                <c:pt idx="995">
                  <c:v>0.891822965208283</c:v>
                </c:pt>
                <c:pt idx="996">
                  <c:v>0.8848054445212636</c:v>
                </c:pt>
                <c:pt idx="997">
                  <c:v>0.8797315372015495</c:v>
                </c:pt>
                <c:pt idx="998">
                  <c:v>0.8728358770500906</c:v>
                </c:pt>
                <c:pt idx="999">
                  <c:v>0.8728358770500906</c:v>
                </c:pt>
                <c:pt idx="1000">
                  <c:v>0.8728358770500906</c:v>
                </c:pt>
                <c:pt idx="1001">
                  <c:v>0.8016154410520495</c:v>
                </c:pt>
                <c:pt idx="1002">
                  <c:v>0.8177887912916932</c:v>
                </c:pt>
                <c:pt idx="1003">
                  <c:v>0.8656639225628784</c:v>
                </c:pt>
                <c:pt idx="1004">
                  <c:v>0.8727970900354456</c:v>
                </c:pt>
                <c:pt idx="1005">
                  <c:v>0.8624353041435351</c:v>
                </c:pt>
                <c:pt idx="1006">
                  <c:v>0.8624353041435351</c:v>
                </c:pt>
                <c:pt idx="1007">
                  <c:v>0.8624353041435351</c:v>
                </c:pt>
                <c:pt idx="1008">
                  <c:v>0.8906060302485006</c:v>
                </c:pt>
                <c:pt idx="1009">
                  <c:v>0.8772733599379612</c:v>
                </c:pt>
                <c:pt idx="1010">
                  <c:v>0.8944183323161472</c:v>
                </c:pt>
                <c:pt idx="1011">
                  <c:v>0.9121347960413075</c:v>
                </c:pt>
                <c:pt idx="1012">
                  <c:v>0.9049440679589213</c:v>
                </c:pt>
                <c:pt idx="1013">
                  <c:v>0.9049440679589213</c:v>
                </c:pt>
                <c:pt idx="1014">
                  <c:v>0.9049440679589213</c:v>
                </c:pt>
                <c:pt idx="1015">
                  <c:v>0.8963608424515521</c:v>
                </c:pt>
                <c:pt idx="1016">
                  <c:v>0.8866351560858245</c:v>
                </c:pt>
                <c:pt idx="1017">
                  <c:v>0.8925561702561295</c:v>
                </c:pt>
                <c:pt idx="1018">
                  <c:v>0.8513407131011204</c:v>
                </c:pt>
                <c:pt idx="1019">
                  <c:v>0.8221601322431669</c:v>
                </c:pt>
                <c:pt idx="1020">
                  <c:v>0.8221601322431669</c:v>
                </c:pt>
                <c:pt idx="1021">
                  <c:v>0.8221601322431669</c:v>
                </c:pt>
                <c:pt idx="1022">
                  <c:v>0.7941962823454476</c:v>
                </c:pt>
                <c:pt idx="1023">
                  <c:v>0.8212717923166171</c:v>
                </c:pt>
                <c:pt idx="1024">
                  <c:v>0.8494127204835336</c:v>
                </c:pt>
                <c:pt idx="1025">
                  <c:v>0.8457601548813425</c:v>
                </c:pt>
                <c:pt idx="1026">
                  <c:v>0.8226010862741644</c:v>
                </c:pt>
                <c:pt idx="1027">
                  <c:v>0.8226010862741644</c:v>
                </c:pt>
                <c:pt idx="1028">
                  <c:v>0.8226010862741644</c:v>
                </c:pt>
                <c:pt idx="1029">
                  <c:v>0.7106500129755637</c:v>
                </c:pt>
                <c:pt idx="1030">
                  <c:v>0.7118727851394708</c:v>
                </c:pt>
                <c:pt idx="1031">
                  <c:v>0.7479794748980617</c:v>
                </c:pt>
                <c:pt idx="1032">
                  <c:v>0.7582788857664018</c:v>
                </c:pt>
                <c:pt idx="1033">
                  <c:v>0.7704993138591074</c:v>
                </c:pt>
                <c:pt idx="1034">
                  <c:v>0.7704993138591074</c:v>
                </c:pt>
                <c:pt idx="1035">
                  <c:v>0.7704993138591074</c:v>
                </c:pt>
                <c:pt idx="1036">
                  <c:v>0.7804720980341981</c:v>
                </c:pt>
                <c:pt idx="1037">
                  <c:v>0.7881362037249835</c:v>
                </c:pt>
                <c:pt idx="1038">
                  <c:v>0.8194412410296141</c:v>
                </c:pt>
                <c:pt idx="1039">
                  <c:v>0.8313373187743449</c:v>
                </c:pt>
                <c:pt idx="1040">
                  <c:v>0.8437816746135098</c:v>
                </c:pt>
                <c:pt idx="1041">
                  <c:v>0.8437816746135098</c:v>
                </c:pt>
                <c:pt idx="1042">
                  <c:v>0.8437816746135098</c:v>
                </c:pt>
                <c:pt idx="1043">
                  <c:v>0.8486411753997454</c:v>
                </c:pt>
                <c:pt idx="1044">
                  <c:v>0.8521543902484985</c:v>
                </c:pt>
                <c:pt idx="1045">
                  <c:v>0.8141061158965792</c:v>
                </c:pt>
                <c:pt idx="1046">
                  <c:v>0.8218558808325538</c:v>
                </c:pt>
                <c:pt idx="1047">
                  <c:v>0.8331107830095008</c:v>
                </c:pt>
                <c:pt idx="1048">
                  <c:v>0.8331107830095008</c:v>
                </c:pt>
                <c:pt idx="1049">
                  <c:v>0.8331107830095008</c:v>
                </c:pt>
                <c:pt idx="1050">
                  <c:v>0.8016187854270593</c:v>
                </c:pt>
                <c:pt idx="1051">
                  <c:v>0.8220919451295317</c:v>
                </c:pt>
                <c:pt idx="1052">
                  <c:v>0.7627283572502144</c:v>
                </c:pt>
                <c:pt idx="1053">
                  <c:v>0.7523436128492409</c:v>
                </c:pt>
                <c:pt idx="1054">
                  <c:v>0.7747812507775491</c:v>
                </c:pt>
                <c:pt idx="1055">
                  <c:v>0.7747812507775491</c:v>
                </c:pt>
                <c:pt idx="1056">
                  <c:v>0.7747812507775491</c:v>
                </c:pt>
                <c:pt idx="1057">
                  <c:v>0.7718870810193452</c:v>
                </c:pt>
                <c:pt idx="1058">
                  <c:v>0.7438185165525706</c:v>
                </c:pt>
                <c:pt idx="1059">
                  <c:v>0.8290633711079256</c:v>
                </c:pt>
                <c:pt idx="1060">
                  <c:v>0.768257797109702</c:v>
                </c:pt>
                <c:pt idx="1061">
                  <c:v>0.7131965039939596</c:v>
                </c:pt>
                <c:pt idx="1062">
                  <c:v>0.7131965039939596</c:v>
                </c:pt>
                <c:pt idx="1063">
                  <c:v>0.7131965039939596</c:v>
                </c:pt>
                <c:pt idx="1064">
                  <c:v>0.6504839534153053</c:v>
                </c:pt>
                <c:pt idx="1065">
                  <c:v>0.6954109015611423</c:v>
                </c:pt>
                <c:pt idx="1066">
                  <c:v>0.6852972916667694</c:v>
                </c:pt>
                <c:pt idx="1067">
                  <c:v>0.7324771397211034</c:v>
                </c:pt>
                <c:pt idx="1068">
                  <c:v>0.7526128999970656</c:v>
                </c:pt>
                <c:pt idx="1069">
                  <c:v>0.7526128999970656</c:v>
                </c:pt>
                <c:pt idx="1070">
                  <c:v>0.7526128999970656</c:v>
                </c:pt>
                <c:pt idx="1071">
                  <c:v>0.7591284866435075</c:v>
                </c:pt>
                <c:pt idx="1072">
                  <c:v>0.8043345105426043</c:v>
                </c:pt>
                <c:pt idx="1073">
                  <c:v>0.8031422643766777</c:v>
                </c:pt>
                <c:pt idx="1074">
                  <c:v>0.8438395727761441</c:v>
                </c:pt>
                <c:pt idx="1075">
                  <c:v>0.8581013385079872</c:v>
                </c:pt>
                <c:pt idx="1076">
                  <c:v>0.8581013385079872</c:v>
                </c:pt>
                <c:pt idx="1077">
                  <c:v>0.8581013385079872</c:v>
                </c:pt>
                <c:pt idx="1078">
                  <c:v>0.8687036926883955</c:v>
                </c:pt>
                <c:pt idx="1079">
                  <c:v>0.8232096701329958</c:v>
                </c:pt>
                <c:pt idx="1080">
                  <c:v>0.8382235911946714</c:v>
                </c:pt>
                <c:pt idx="1081">
                  <c:v>0.832001807208474</c:v>
                </c:pt>
                <c:pt idx="1082">
                  <c:v>0.8667691415031347</c:v>
                </c:pt>
                <c:pt idx="1083">
                  <c:v>0.8667691415031347</c:v>
                </c:pt>
                <c:pt idx="1084">
                  <c:v>0.8667691415031347</c:v>
                </c:pt>
                <c:pt idx="1085">
                  <c:v>0.8528843696984982</c:v>
                </c:pt>
                <c:pt idx="1086">
                  <c:v>0.8763635487967958</c:v>
                </c:pt>
                <c:pt idx="1087">
                  <c:v>0.8512258391201559</c:v>
                </c:pt>
                <c:pt idx="1088">
                  <c:v>0.8139588926376535</c:v>
                </c:pt>
                <c:pt idx="1089">
                  <c:v>0.8390426629110859</c:v>
                </c:pt>
                <c:pt idx="1090">
                  <c:v>0.8390426629110859</c:v>
                </c:pt>
                <c:pt idx="1091">
                  <c:v>0.8390426629110859</c:v>
                </c:pt>
                <c:pt idx="1092">
                  <c:v>0.8378364081120409</c:v>
                </c:pt>
                <c:pt idx="1093">
                  <c:v>0.7774787708223707</c:v>
                </c:pt>
                <c:pt idx="1094">
                  <c:v>0.7656259301505084</c:v>
                </c:pt>
                <c:pt idx="1095">
                  <c:v>0.7741282587702067</c:v>
                </c:pt>
                <c:pt idx="1096">
                  <c:v>0.7361218721292591</c:v>
                </c:pt>
                <c:pt idx="1097">
                  <c:v>0.7361218721292591</c:v>
                </c:pt>
                <c:pt idx="1098">
                  <c:v>0.7361218721292591</c:v>
                </c:pt>
                <c:pt idx="1099">
                  <c:v>0.7638265158288546</c:v>
                </c:pt>
                <c:pt idx="1100">
                  <c:v>0.7619524453348225</c:v>
                </c:pt>
                <c:pt idx="1101">
                  <c:v>0.8178008467784963</c:v>
                </c:pt>
                <c:pt idx="1102">
                  <c:v>0.8394674846385948</c:v>
                </c:pt>
                <c:pt idx="1103">
                  <c:v>0.8378907958936139</c:v>
                </c:pt>
                <c:pt idx="1104">
                  <c:v>0.8378907958936139</c:v>
                </c:pt>
                <c:pt idx="1105">
                  <c:v>0.8378907958936139</c:v>
                </c:pt>
                <c:pt idx="1106">
                  <c:v>0.8374285278729179</c:v>
                </c:pt>
                <c:pt idx="1107">
                  <c:v>0.8499642715054165</c:v>
                </c:pt>
                <c:pt idx="1108">
                  <c:v>0.8440018051027312</c:v>
                </c:pt>
                <c:pt idx="1109">
                  <c:v>0.8916821629132128</c:v>
                </c:pt>
                <c:pt idx="1110">
                  <c:v>0.849840282907055</c:v>
                </c:pt>
                <c:pt idx="1111">
                  <c:v>0.849840282907055</c:v>
                </c:pt>
                <c:pt idx="1112">
                  <c:v>0.849840282907055</c:v>
                </c:pt>
                <c:pt idx="1113">
                  <c:v>0.8832107847733093</c:v>
                </c:pt>
                <c:pt idx="1114">
                  <c:v>0.9159211593094918</c:v>
                </c:pt>
                <c:pt idx="1115">
                  <c:v>0.9205432751745857</c:v>
                </c:pt>
                <c:pt idx="1116">
                  <c:v>0.9569443913037277</c:v>
                </c:pt>
                <c:pt idx="1117">
                  <c:v>0.9310661061768415</c:v>
                </c:pt>
                <c:pt idx="1118">
                  <c:v>0.9310661061768415</c:v>
                </c:pt>
                <c:pt idx="1119">
                  <c:v>0.9310661061768415</c:v>
                </c:pt>
                <c:pt idx="1120">
                  <c:v>0.9380823398883957</c:v>
                </c:pt>
                <c:pt idx="1121">
                  <c:v>0.9083702536525575</c:v>
                </c:pt>
                <c:pt idx="1122">
                  <c:v>0.9072415813639749</c:v>
                </c:pt>
                <c:pt idx="1123">
                  <c:v>0.9047995758555516</c:v>
                </c:pt>
                <c:pt idx="1124">
                  <c:v>0.9499892735766973</c:v>
                </c:pt>
                <c:pt idx="1125">
                  <c:v>0.9499892735766973</c:v>
                </c:pt>
                <c:pt idx="1126">
                  <c:v>0.9499892735766973</c:v>
                </c:pt>
                <c:pt idx="1127">
                  <c:v>0.9597147152277592</c:v>
                </c:pt>
                <c:pt idx="1128">
                  <c:v>0.9658944113376702</c:v>
                </c:pt>
                <c:pt idx="1129">
                  <c:v>0.973975583101566</c:v>
                </c:pt>
                <c:pt idx="1130">
                  <c:v>0.9744835339622973</c:v>
                </c:pt>
                <c:pt idx="1131">
                  <c:v>1.0055341888681846</c:v>
                </c:pt>
                <c:pt idx="1132">
                  <c:v>1.0055341888681846</c:v>
                </c:pt>
                <c:pt idx="1133">
                  <c:v>1.0055341888681846</c:v>
                </c:pt>
                <c:pt idx="1134">
                  <c:v>1.004948171076275</c:v>
                </c:pt>
                <c:pt idx="1135">
                  <c:v>0.9649474270805882</c:v>
                </c:pt>
                <c:pt idx="1136">
                  <c:v>0.9786380557605174</c:v>
                </c:pt>
                <c:pt idx="1137">
                  <c:v>1.0020155404515734</c:v>
                </c:pt>
                <c:pt idx="1138">
                  <c:v>1.020733898104817</c:v>
                </c:pt>
                <c:pt idx="1139">
                  <c:v>1.020733898104817</c:v>
                </c:pt>
                <c:pt idx="1140">
                  <c:v>1.020733898104817</c:v>
                </c:pt>
                <c:pt idx="1141">
                  <c:v>1.0161938287351684</c:v>
                </c:pt>
                <c:pt idx="1142">
                  <c:v>1.0317758792541367</c:v>
                </c:pt>
                <c:pt idx="1143">
                  <c:v>1.0010795409904758</c:v>
                </c:pt>
                <c:pt idx="1144">
                  <c:v>0.999558505419706</c:v>
                </c:pt>
                <c:pt idx="1145">
                  <c:v>1.0187757063001035</c:v>
                </c:pt>
                <c:pt idx="1146">
                  <c:v>1.0187757063001035</c:v>
                </c:pt>
                <c:pt idx="1147">
                  <c:v>1.0187757063001035</c:v>
                </c:pt>
                <c:pt idx="1148">
                  <c:v>1.0125305788162562</c:v>
                </c:pt>
                <c:pt idx="1149">
                  <c:v>1.0359612216778706</c:v>
                </c:pt>
                <c:pt idx="1150">
                  <c:v>1.023916431471016</c:v>
                </c:pt>
                <c:pt idx="1151">
                  <c:v>0.9684966895161771</c:v>
                </c:pt>
                <c:pt idx="1152">
                  <c:v>1.0036026314060895</c:v>
                </c:pt>
                <c:pt idx="1153">
                  <c:v>1.0036026314060895</c:v>
                </c:pt>
                <c:pt idx="1154">
                  <c:v>1.0036026314060895</c:v>
                </c:pt>
                <c:pt idx="1155">
                  <c:v>1.0074326856052327</c:v>
                </c:pt>
                <c:pt idx="1156">
                  <c:v>1.035516996084898</c:v>
                </c:pt>
                <c:pt idx="1157">
                  <c:v>1.0700956353938076</c:v>
                </c:pt>
                <c:pt idx="1158">
                  <c:v>1.1062042555900238</c:v>
                </c:pt>
                <c:pt idx="1159">
                  <c:v>1.102231175277287</c:v>
                </c:pt>
                <c:pt idx="1160">
                  <c:v>1.102231175277287</c:v>
                </c:pt>
                <c:pt idx="1161">
                  <c:v>1.102231175277287</c:v>
                </c:pt>
                <c:pt idx="1162">
                  <c:v>1.129913879637778</c:v>
                </c:pt>
                <c:pt idx="1163">
                  <c:v>1.1012216806374906</c:v>
                </c:pt>
                <c:pt idx="1164">
                  <c:v>1.0978632609585843</c:v>
                </c:pt>
                <c:pt idx="1165">
                  <c:v>1.1033742672370455</c:v>
                </c:pt>
                <c:pt idx="1166">
                  <c:v>1.0770949371568062</c:v>
                </c:pt>
                <c:pt idx="1167">
                  <c:v>1.0770949371568062</c:v>
                </c:pt>
                <c:pt idx="1168">
                  <c:v>1.0770949371568062</c:v>
                </c:pt>
                <c:pt idx="1169">
                  <c:v>1.1008463976673006</c:v>
                </c:pt>
                <c:pt idx="1170">
                  <c:v>1.1108514103374154</c:v>
                </c:pt>
                <c:pt idx="1171">
                  <c:v>1.126875116583859</c:v>
                </c:pt>
                <c:pt idx="1172">
                  <c:v>1.1264102051649125</c:v>
                </c:pt>
                <c:pt idx="1173">
                  <c:v>1.1218633978603427</c:v>
                </c:pt>
                <c:pt idx="1174">
                  <c:v>1.1218633978603427</c:v>
                </c:pt>
                <c:pt idx="1175">
                  <c:v>1.1218633978603427</c:v>
                </c:pt>
                <c:pt idx="1176">
                  <c:v>1.1253850566656678</c:v>
                </c:pt>
                <c:pt idx="1177">
                  <c:v>1.120047520960124</c:v>
                </c:pt>
                <c:pt idx="1178">
                  <c:v>1.1080021634741333</c:v>
                </c:pt>
                <c:pt idx="1179">
                  <c:v>1.0976968375958283</c:v>
                </c:pt>
                <c:pt idx="1180">
                  <c:v>1.0861976449641926</c:v>
                </c:pt>
                <c:pt idx="1181">
                  <c:v>1.0861976449641926</c:v>
                </c:pt>
                <c:pt idx="1182">
                  <c:v>1.0861976449641926</c:v>
                </c:pt>
                <c:pt idx="1183">
                  <c:v>1.1004529502284774</c:v>
                </c:pt>
                <c:pt idx="1184">
                  <c:v>1.1205381461969655</c:v>
                </c:pt>
                <c:pt idx="1185">
                  <c:v>1.1420670972263802</c:v>
                </c:pt>
                <c:pt idx="1186">
                  <c:v>1.14240937971431</c:v>
                </c:pt>
                <c:pt idx="1187">
                  <c:v>1.1567308685589688</c:v>
                </c:pt>
                <c:pt idx="1188">
                  <c:v>1.1567308685589688</c:v>
                </c:pt>
                <c:pt idx="1189">
                  <c:v>1.1567308685589688</c:v>
                </c:pt>
                <c:pt idx="1190">
                  <c:v>1.1605065435232178</c:v>
                </c:pt>
                <c:pt idx="1191">
                  <c:v>1.1474834697498442</c:v>
                </c:pt>
                <c:pt idx="1192">
                  <c:v>1.1831775194777516</c:v>
                </c:pt>
                <c:pt idx="1193">
                  <c:v>1.171664086806247</c:v>
                </c:pt>
                <c:pt idx="1194">
                  <c:v>1.1690433297011693</c:v>
                </c:pt>
                <c:pt idx="1195">
                  <c:v>1.1690433297011693</c:v>
                </c:pt>
                <c:pt idx="1196">
                  <c:v>1.1690433297011693</c:v>
                </c:pt>
                <c:pt idx="1197">
                  <c:v>1.1704473266080893</c:v>
                </c:pt>
                <c:pt idx="1198">
                  <c:v>1.164957636440493</c:v>
                </c:pt>
                <c:pt idx="1199">
                  <c:v>1.1204451961478639</c:v>
                </c:pt>
                <c:pt idx="1200">
                  <c:v>1.1133813567343758</c:v>
                </c:pt>
                <c:pt idx="1201">
                  <c:v>1.108447372946729</c:v>
                </c:pt>
                <c:pt idx="1202">
                  <c:v>1.108447372946729</c:v>
                </c:pt>
                <c:pt idx="1203">
                  <c:v>1.108447372946729</c:v>
                </c:pt>
                <c:pt idx="1204">
                  <c:v>1.1210368940989053</c:v>
                </c:pt>
                <c:pt idx="1205">
                  <c:v>1.1472709300521675</c:v>
                </c:pt>
                <c:pt idx="1206">
                  <c:v>1.143779774182617</c:v>
                </c:pt>
                <c:pt idx="1207">
                  <c:v>1.138591759054552</c:v>
                </c:pt>
                <c:pt idx="1208">
                  <c:v>1.123985149835459</c:v>
                </c:pt>
                <c:pt idx="1209">
                  <c:v>1.123985149835459</c:v>
                </c:pt>
                <c:pt idx="1210">
                  <c:v>1.123985149835459</c:v>
                </c:pt>
                <c:pt idx="1211">
                  <c:v>1.1145665375588916</c:v>
                </c:pt>
                <c:pt idx="1212">
                  <c:v>1.1079339694608237</c:v>
                </c:pt>
                <c:pt idx="1213">
                  <c:v>1.1079339694608237</c:v>
                </c:pt>
                <c:pt idx="1214">
                  <c:v>1.117716080732332</c:v>
                </c:pt>
                <c:pt idx="1215">
                  <c:v>1.1413945600225932</c:v>
                </c:pt>
                <c:pt idx="1216">
                  <c:v>1.1413945600225932</c:v>
                </c:pt>
                <c:pt idx="1217">
                  <c:v>1.1413945600225932</c:v>
                </c:pt>
                <c:pt idx="1218">
                  <c:v>1.166210062786634</c:v>
                </c:pt>
                <c:pt idx="1219">
                  <c:v>1.13005330124026</c:v>
                </c:pt>
                <c:pt idx="1220">
                  <c:v>1.1313232917049514</c:v>
                </c:pt>
                <c:pt idx="1221">
                  <c:v>1.1264905032003916</c:v>
                </c:pt>
                <c:pt idx="1222">
                  <c:v>1.0838272053984683</c:v>
                </c:pt>
                <c:pt idx="1223">
                  <c:v>1.0838272053984683</c:v>
                </c:pt>
                <c:pt idx="1224">
                  <c:v>1.0838272053984683</c:v>
                </c:pt>
                <c:pt idx="1225">
                  <c:v>1.063908484905956</c:v>
                </c:pt>
                <c:pt idx="1226">
                  <c:v>1.0492533758380658</c:v>
                </c:pt>
                <c:pt idx="1227">
                  <c:v>1.1067387038797656</c:v>
                </c:pt>
                <c:pt idx="1228">
                  <c:v>1.1043557130166186</c:v>
                </c:pt>
                <c:pt idx="1229">
                  <c:v>1.1205063878570867</c:v>
                </c:pt>
                <c:pt idx="1230">
                  <c:v>1.1205063878570867</c:v>
                </c:pt>
                <c:pt idx="1231">
                  <c:v>1.1205063878570867</c:v>
                </c:pt>
                <c:pt idx="1232">
                  <c:v>1.1260842694126523</c:v>
                </c:pt>
                <c:pt idx="1233">
                  <c:v>1.1477576813741392</c:v>
                </c:pt>
                <c:pt idx="1234">
                  <c:v>1.1624442839806362</c:v>
                </c:pt>
                <c:pt idx="1235">
                  <c:v>1.180173241441977</c:v>
                </c:pt>
                <c:pt idx="1236">
                  <c:v>1.1842178728647306</c:v>
                </c:pt>
                <c:pt idx="1237">
                  <c:v>1.1842178728647306</c:v>
                </c:pt>
                <c:pt idx="1238">
                  <c:v>1.1842178728647306</c:v>
                </c:pt>
                <c:pt idx="1239">
                  <c:v>1.1189547891990759</c:v>
                </c:pt>
                <c:pt idx="1240">
                  <c:v>1.1606744888577238</c:v>
                </c:pt>
                <c:pt idx="1241">
                  <c:v>1.155336668759511</c:v>
                </c:pt>
                <c:pt idx="1242">
                  <c:v>1.1806592032354746</c:v>
                </c:pt>
                <c:pt idx="1243">
                  <c:v>1.1671220251666359</c:v>
                </c:pt>
                <c:pt idx="1244">
                  <c:v>1.1671220251666359</c:v>
                </c:pt>
                <c:pt idx="1245">
                  <c:v>1.1671220251666359</c:v>
                </c:pt>
                <c:pt idx="1246">
                  <c:v>1.183989706068067</c:v>
                </c:pt>
                <c:pt idx="1247">
                  <c:v>1.1612983377968504</c:v>
                </c:pt>
                <c:pt idx="1248">
                  <c:v>1.2010604987565965</c:v>
                </c:pt>
                <c:pt idx="1249">
                  <c:v>1.2186799834511026</c:v>
                </c:pt>
                <c:pt idx="1250">
                  <c:v>1.2172373362234024</c:v>
                </c:pt>
                <c:pt idx="1251">
                  <c:v>1.2172373362234024</c:v>
                </c:pt>
                <c:pt idx="1252">
                  <c:v>1.2172373362234024</c:v>
                </c:pt>
                <c:pt idx="1253">
                  <c:v>1.2290894560295529</c:v>
                </c:pt>
                <c:pt idx="1254">
                  <c:v>1.2106959420419656</c:v>
                </c:pt>
                <c:pt idx="1255">
                  <c:v>1.2099280931562513</c:v>
                </c:pt>
                <c:pt idx="1256">
                  <c:v>1.2303195944733978</c:v>
                </c:pt>
                <c:pt idx="1257">
                  <c:v>1.2420820252386493</c:v>
                </c:pt>
                <c:pt idx="1258">
                  <c:v>1.2420820252386493</c:v>
                </c:pt>
                <c:pt idx="1259">
                  <c:v>1.2420820252386493</c:v>
                </c:pt>
                <c:pt idx="1260">
                  <c:v>1.251764884087307</c:v>
                </c:pt>
                <c:pt idx="1261">
                  <c:v>1.2582524117533875</c:v>
                </c:pt>
                <c:pt idx="1262">
                  <c:v>1.228861397220483</c:v>
                </c:pt>
                <c:pt idx="1263">
                  <c:v>1.2407491795774965</c:v>
                </c:pt>
                <c:pt idx="1264">
                  <c:v>1.2286200723316654</c:v>
                </c:pt>
                <c:pt idx="1265">
                  <c:v>1.2286200723316654</c:v>
                </c:pt>
                <c:pt idx="1266">
                  <c:v>1.2286200723316654</c:v>
                </c:pt>
                <c:pt idx="1267">
                  <c:v>1.2081734152604353</c:v>
                </c:pt>
                <c:pt idx="1268">
                  <c:v>1.1882514945758222</c:v>
                </c:pt>
                <c:pt idx="1269">
                  <c:v>1.1969060609964695</c:v>
                </c:pt>
                <c:pt idx="1270">
                  <c:v>1.1716815987898097</c:v>
                </c:pt>
                <c:pt idx="1271">
                  <c:v>1.1856639148613546</c:v>
                </c:pt>
                <c:pt idx="1272">
                  <c:v>1.1856639148613546</c:v>
                </c:pt>
                <c:pt idx="1273">
                  <c:v>1.1856639148613546</c:v>
                </c:pt>
                <c:pt idx="1274">
                  <c:v>1.1697648619531904</c:v>
                </c:pt>
                <c:pt idx="1275">
                  <c:v>1.1567003396230402</c:v>
                </c:pt>
                <c:pt idx="1276">
                  <c:v>1.1889170964929554</c:v>
                </c:pt>
                <c:pt idx="1277">
                  <c:v>1.171720277592402</c:v>
                </c:pt>
                <c:pt idx="1278">
                  <c:v>1.1962703890354551</c:v>
                </c:pt>
                <c:pt idx="1279">
                  <c:v>1.1962703890354551</c:v>
                </c:pt>
                <c:pt idx="1280">
                  <c:v>1.1962703890354551</c:v>
                </c:pt>
                <c:pt idx="1281">
                  <c:v>1.1151180875727174</c:v>
                </c:pt>
                <c:pt idx="1282">
                  <c:v>1.1077745016956917</c:v>
                </c:pt>
                <c:pt idx="1283">
                  <c:v>1.1099750455523898</c:v>
                </c:pt>
                <c:pt idx="1284">
                  <c:v>1.0846590907854745</c:v>
                </c:pt>
                <c:pt idx="1285">
                  <c:v>1.1241958936931522</c:v>
                </c:pt>
                <c:pt idx="1286">
                  <c:v>1.1241958936931522</c:v>
                </c:pt>
                <c:pt idx="1287">
                  <c:v>1.1241958936931522</c:v>
                </c:pt>
                <c:pt idx="1288">
                  <c:v>1.1387262063762287</c:v>
                </c:pt>
                <c:pt idx="1289">
                  <c:v>1.1348162525805372</c:v>
                </c:pt>
                <c:pt idx="1290">
                  <c:v>1.1573183470241628</c:v>
                </c:pt>
                <c:pt idx="1291">
                  <c:v>1.1511106178736434</c:v>
                </c:pt>
                <c:pt idx="1292">
                  <c:v>1.1490782421808534</c:v>
                </c:pt>
                <c:pt idx="1293">
                  <c:v>1.1490782421808534</c:v>
                </c:pt>
                <c:pt idx="1294">
                  <c:v>1.1490782421808534</c:v>
                </c:pt>
                <c:pt idx="1295">
                  <c:v>1.1764202827544747</c:v>
                </c:pt>
                <c:pt idx="1296">
                  <c:v>1.1771707959892224</c:v>
                </c:pt>
                <c:pt idx="1297">
                  <c:v>1.1656247156701252</c:v>
                </c:pt>
                <c:pt idx="1298">
                  <c:v>1.1462681292025096</c:v>
                </c:pt>
                <c:pt idx="1299">
                  <c:v>1.1101091441404027</c:v>
                </c:pt>
                <c:pt idx="1300">
                  <c:v>1.1101091441404027</c:v>
                </c:pt>
                <c:pt idx="1301">
                  <c:v>1.1101091441404027</c:v>
                </c:pt>
                <c:pt idx="1302">
                  <c:v>1.0665119081725085</c:v>
                </c:pt>
                <c:pt idx="1303">
                  <c:v>1.0818086225237105</c:v>
                </c:pt>
                <c:pt idx="1304">
                  <c:v>1.0756143270067802</c:v>
                </c:pt>
                <c:pt idx="1305">
                  <c:v>0.9863254585223835</c:v>
                </c:pt>
                <c:pt idx="1306">
                  <c:v>0.8747689191219497</c:v>
                </c:pt>
                <c:pt idx="1307">
                  <c:v>0.8747689191219497</c:v>
                </c:pt>
                <c:pt idx="1308">
                  <c:v>0.8747689191219497</c:v>
                </c:pt>
                <c:pt idx="1309">
                  <c:v>0.8478874756759887</c:v>
                </c:pt>
                <c:pt idx="1310">
                  <c:v>0.839526628056263</c:v>
                </c:pt>
                <c:pt idx="1311">
                  <c:v>0.945920136116412</c:v>
                </c:pt>
                <c:pt idx="1312">
                  <c:v>0.9368436719124966</c:v>
                </c:pt>
                <c:pt idx="1313">
                  <c:v>0.9933734909626024</c:v>
                </c:pt>
                <c:pt idx="1314">
                  <c:v>0.9933734909626024</c:v>
                </c:pt>
                <c:pt idx="1315">
                  <c:v>0.9933734909626024</c:v>
                </c:pt>
                <c:pt idx="1316">
                  <c:v>1.0198864004430135</c:v>
                </c:pt>
                <c:pt idx="1317">
                  <c:v>1.0262330054212114</c:v>
                </c:pt>
                <c:pt idx="1318">
                  <c:v>1.0015162813079463</c:v>
                </c:pt>
                <c:pt idx="1319">
                  <c:v>1.0084840338102161</c:v>
                </c:pt>
                <c:pt idx="1320">
                  <c:v>1.0091456203613784</c:v>
                </c:pt>
                <c:pt idx="1321">
                  <c:v>1.0091456203613784</c:v>
                </c:pt>
                <c:pt idx="1322">
                  <c:v>1.0091456203613784</c:v>
                </c:pt>
                <c:pt idx="1323">
                  <c:v>0.9809097575183945</c:v>
                </c:pt>
                <c:pt idx="1324">
                  <c:v>1.0093636168526627</c:v>
                </c:pt>
                <c:pt idx="1325">
                  <c:v>1.0521135681599385</c:v>
                </c:pt>
                <c:pt idx="1326">
                  <c:v>1.0727940298932226</c:v>
                </c:pt>
                <c:pt idx="1327">
                  <c:v>1.0630728989336036</c:v>
                </c:pt>
                <c:pt idx="1328">
                  <c:v>1.0630728989336036</c:v>
                </c:pt>
                <c:pt idx="1329">
                  <c:v>1.0630728989336036</c:v>
                </c:pt>
                <c:pt idx="1330">
                  <c:v>1.045214199681515</c:v>
                </c:pt>
                <c:pt idx="1331">
                  <c:v>1.0623873302390288</c:v>
                </c:pt>
                <c:pt idx="1332">
                  <c:v>1.0715845997192788</c:v>
                </c:pt>
                <c:pt idx="1333">
                  <c:v>1.0721453278423754</c:v>
                </c:pt>
                <c:pt idx="1334">
                  <c:v>1.1112493195817241</c:v>
                </c:pt>
                <c:pt idx="1335">
                  <c:v>1.1112493195817241</c:v>
                </c:pt>
                <c:pt idx="1336">
                  <c:v>1.1112493195817241</c:v>
                </c:pt>
                <c:pt idx="1337">
                  <c:v>1.0937173589804914</c:v>
                </c:pt>
                <c:pt idx="1338">
                  <c:v>1.0651177566412655</c:v>
                </c:pt>
                <c:pt idx="1339">
                  <c:v>1.03019267691153</c:v>
                </c:pt>
                <c:pt idx="1340">
                  <c:v>1.0104771875338545</c:v>
                </c:pt>
                <c:pt idx="1341">
                  <c:v>0.9934229259099514</c:v>
                </c:pt>
                <c:pt idx="1342">
                  <c:v>0.9934229259099514</c:v>
                </c:pt>
                <c:pt idx="1343">
                  <c:v>0.9934229259099514</c:v>
                </c:pt>
                <c:pt idx="1344">
                  <c:v>1.0357088383534059</c:v>
                </c:pt>
                <c:pt idx="1345">
                  <c:v>1.0486818664685376</c:v>
                </c:pt>
                <c:pt idx="1346">
                  <c:v>1.0843975136578057</c:v>
                </c:pt>
                <c:pt idx="1347">
                  <c:v>1.1060301287996879</c:v>
                </c:pt>
                <c:pt idx="1348">
                  <c:v>1.1145411711404947</c:v>
                </c:pt>
                <c:pt idx="1349">
                  <c:v>1.1145411711404947</c:v>
                </c:pt>
                <c:pt idx="1350">
                  <c:v>1.1145411711404947</c:v>
                </c:pt>
                <c:pt idx="1351">
                  <c:v>1.133762226267288</c:v>
                </c:pt>
                <c:pt idx="1352">
                  <c:v>1.1426618805834239</c:v>
                </c:pt>
                <c:pt idx="1353">
                  <c:v>1.1320473331807177</c:v>
                </c:pt>
                <c:pt idx="1354">
                  <c:v>1.1394801293814525</c:v>
                </c:pt>
                <c:pt idx="1355">
                  <c:v>1.1410484752661536</c:v>
                </c:pt>
                <c:pt idx="1356">
                  <c:v>1.1410484752661536</c:v>
                </c:pt>
                <c:pt idx="1357">
                  <c:v>1.1410484752661536</c:v>
                </c:pt>
                <c:pt idx="1358">
                  <c:v>1.1525388239808292</c:v>
                </c:pt>
                <c:pt idx="1359">
                  <c:v>1.2054250211065631</c:v>
                </c:pt>
                <c:pt idx="1360">
                  <c:v>1.1305085089015314</c:v>
                </c:pt>
                <c:pt idx="1361">
                  <c:v>1.099870885331708</c:v>
                </c:pt>
                <c:pt idx="1362">
                  <c:v>1.1032582205194137</c:v>
                </c:pt>
                <c:pt idx="1363">
                  <c:v>1.1032582205194137</c:v>
                </c:pt>
                <c:pt idx="1364">
                  <c:v>1.1032582205194137</c:v>
                </c:pt>
                <c:pt idx="1365">
                  <c:v>1.1238965687097178</c:v>
                </c:pt>
                <c:pt idx="1366">
                  <c:v>1.1342907817377657</c:v>
                </c:pt>
                <c:pt idx="1367">
                  <c:v>1.161349684955142</c:v>
                </c:pt>
                <c:pt idx="1368">
                  <c:v>1.0660438837045145</c:v>
                </c:pt>
                <c:pt idx="1369">
                  <c:v>1.1061145990992802</c:v>
                </c:pt>
                <c:pt idx="1370">
                  <c:v>1.1061145990992802</c:v>
                </c:pt>
                <c:pt idx="1371">
                  <c:v>1.1061145990992802</c:v>
                </c:pt>
                <c:pt idx="1372">
                  <c:v>1.0007868158003328</c:v>
                </c:pt>
                <c:pt idx="1373">
                  <c:v>1.0230749366181047</c:v>
                </c:pt>
                <c:pt idx="1374">
                  <c:v>1.0354874734658615</c:v>
                </c:pt>
                <c:pt idx="1375">
                  <c:v>1.0184623094555407</c:v>
                </c:pt>
                <c:pt idx="1376">
                  <c:v>0.9692078390408077</c:v>
                </c:pt>
                <c:pt idx="1377">
                  <c:v>0.9692078390408077</c:v>
                </c:pt>
                <c:pt idx="1378">
                  <c:v>0.9692078390408077</c:v>
                </c:pt>
                <c:pt idx="1379">
                  <c:v>0.9451908555775015</c:v>
                </c:pt>
                <c:pt idx="1380">
                  <c:v>0.9381138458691383</c:v>
                </c:pt>
                <c:pt idx="1381">
                  <c:v>0.9424803710919858</c:v>
                </c:pt>
                <c:pt idx="1382">
                  <c:v>0.9110908075535695</c:v>
                </c:pt>
                <c:pt idx="1383">
                  <c:v>0.8609124287613028</c:v>
                </c:pt>
                <c:pt idx="1384">
                  <c:v>0.8609124287613028</c:v>
                </c:pt>
                <c:pt idx="1385">
                  <c:v>0.8609124287613028</c:v>
                </c:pt>
                <c:pt idx="1386">
                  <c:v>0.8487121434170586</c:v>
                </c:pt>
                <c:pt idx="1387">
                  <c:v>0.8834865868935557</c:v>
                </c:pt>
                <c:pt idx="1388">
                  <c:v>0.8932262634673245</c:v>
                </c:pt>
                <c:pt idx="1389">
                  <c:v>0.9172929028556076</c:v>
                </c:pt>
                <c:pt idx="1390">
                  <c:v>0.9388383339215769</c:v>
                </c:pt>
                <c:pt idx="1391">
                  <c:v>0.9388383339215769</c:v>
                </c:pt>
                <c:pt idx="1392">
                  <c:v>0.9388383339215769</c:v>
                </c:pt>
                <c:pt idx="1393">
                  <c:v>0.9568969449851321</c:v>
                </c:pt>
                <c:pt idx="1394">
                  <c:v>0.9774908080465452</c:v>
                </c:pt>
                <c:pt idx="1395">
                  <c:v>0.9950064800533396</c:v>
                </c:pt>
                <c:pt idx="1396">
                  <c:v>1.0198574698880698</c:v>
                </c:pt>
                <c:pt idx="1397">
                  <c:v>1.0341725871363585</c:v>
                </c:pt>
                <c:pt idx="1398">
                  <c:v>1.0341725871363585</c:v>
                </c:pt>
                <c:pt idx="1399">
                  <c:v>1.0341725871363585</c:v>
                </c:pt>
                <c:pt idx="1400">
                  <c:v>1.0200438520731847</c:v>
                </c:pt>
                <c:pt idx="1401">
                  <c:v>1.0149650336129477</c:v>
                </c:pt>
                <c:pt idx="1402">
                  <c:v>1.0184227192607658</c:v>
                </c:pt>
                <c:pt idx="1403">
                  <c:v>1.0261105322782202</c:v>
                </c:pt>
                <c:pt idx="1404">
                  <c:v>0.9350511882997485</c:v>
                </c:pt>
                <c:pt idx="1405">
                  <c:v>0.9350511882997485</c:v>
                </c:pt>
                <c:pt idx="1406">
                  <c:v>0.9350511882997485</c:v>
                </c:pt>
                <c:pt idx="1407">
                  <c:v>0.9105502399982186</c:v>
                </c:pt>
                <c:pt idx="1408">
                  <c:v>0.9139731026989988</c:v>
                </c:pt>
                <c:pt idx="1409">
                  <c:v>0.8889758982406373</c:v>
                </c:pt>
                <c:pt idx="1410">
                  <c:v>0.9022258845695785</c:v>
                </c:pt>
                <c:pt idx="1411">
                  <c:v>0.9500092259721675</c:v>
                </c:pt>
                <c:pt idx="1412">
                  <c:v>0.9500092259721675</c:v>
                </c:pt>
                <c:pt idx="1413">
                  <c:v>0.9500092259721675</c:v>
                </c:pt>
                <c:pt idx="1414">
                  <c:v>0.9278026741670384</c:v>
                </c:pt>
                <c:pt idx="1415">
                  <c:v>0.9337324665959685</c:v>
                </c:pt>
                <c:pt idx="1416">
                  <c:v>0.9672188217789879</c:v>
                </c:pt>
                <c:pt idx="1417">
                  <c:v>0.9773932631009146</c:v>
                </c:pt>
                <c:pt idx="1418">
                  <c:v>0.988748108024974</c:v>
                </c:pt>
                <c:pt idx="1419">
                  <c:v>0.988748108024974</c:v>
                </c:pt>
                <c:pt idx="1420">
                  <c:v>0.988748108024974</c:v>
                </c:pt>
                <c:pt idx="1421">
                  <c:v>0.974599506028095</c:v>
                </c:pt>
                <c:pt idx="1422">
                  <c:v>0.9780369283802834</c:v>
                </c:pt>
                <c:pt idx="1423">
                  <c:v>0.9291338916913066</c:v>
                </c:pt>
                <c:pt idx="1424">
                  <c:v>0.9233884468555673</c:v>
                </c:pt>
                <c:pt idx="1425">
                  <c:v>0.8904176641967274</c:v>
                </c:pt>
                <c:pt idx="1426">
                  <c:v>0.8904176641967274</c:v>
                </c:pt>
                <c:pt idx="1427">
                  <c:v>0.8904176641967274</c:v>
                </c:pt>
                <c:pt idx="1428">
                  <c:v>0.8757969525975244</c:v>
                </c:pt>
                <c:pt idx="1429">
                  <c:v>0.9030580680869968</c:v>
                </c:pt>
                <c:pt idx="1430">
                  <c:v>0.916896837018331</c:v>
                </c:pt>
                <c:pt idx="1431">
                  <c:v>0.9334560867566064</c:v>
                </c:pt>
                <c:pt idx="1432">
                  <c:v>0.9620011663589678</c:v>
                </c:pt>
                <c:pt idx="1433">
                  <c:v>0.9620011663589678</c:v>
                </c:pt>
                <c:pt idx="1434">
                  <c:v>0.9620011663589678</c:v>
                </c:pt>
                <c:pt idx="1435">
                  <c:v>0.9468944087558047</c:v>
                </c:pt>
                <c:pt idx="1436">
                  <c:v>0.9811145190571389</c:v>
                </c:pt>
                <c:pt idx="1437">
                  <c:v>0.9680088130754536</c:v>
                </c:pt>
                <c:pt idx="1438">
                  <c:v>0.9663897385343929</c:v>
                </c:pt>
                <c:pt idx="1439">
                  <c:v>0.9605734685254559</c:v>
                </c:pt>
                <c:pt idx="1440">
                  <c:v>0.9605734685254559</c:v>
                </c:pt>
                <c:pt idx="1441">
                  <c:v>0.9605734685254559</c:v>
                </c:pt>
                <c:pt idx="1442">
                  <c:v>0.9648359196026217</c:v>
                </c:pt>
                <c:pt idx="1443">
                  <c:v>0.9665043221783438</c:v>
                </c:pt>
                <c:pt idx="1444">
                  <c:v>0.9580858502076357</c:v>
                </c:pt>
                <c:pt idx="1445">
                  <c:v>0.956164474479754</c:v>
                </c:pt>
                <c:pt idx="1446">
                  <c:v>0.9743110024661061</c:v>
                </c:pt>
                <c:pt idx="1447">
                  <c:v>0.9743110024661061</c:v>
                </c:pt>
                <c:pt idx="1448">
                  <c:v>0.9743110024661061</c:v>
                </c:pt>
                <c:pt idx="1449">
                  <c:v>0.9381135278916781</c:v>
                </c:pt>
                <c:pt idx="1450">
                  <c:v>0.9779185044951664</c:v>
                </c:pt>
                <c:pt idx="1451">
                  <c:v>0.9848571725483182</c:v>
                </c:pt>
                <c:pt idx="1452">
                  <c:v>0.9916788804348056</c:v>
                </c:pt>
                <c:pt idx="1453">
                  <c:v>0.9934668840343817</c:v>
                </c:pt>
                <c:pt idx="1454">
                  <c:v>0.9934668840343817</c:v>
                </c:pt>
                <c:pt idx="1455">
                  <c:v>0.9934668840343817</c:v>
                </c:pt>
                <c:pt idx="1456">
                  <c:v>1.005951308777838</c:v>
                </c:pt>
                <c:pt idx="1457">
                  <c:v>0.9923353986632231</c:v>
                </c:pt>
                <c:pt idx="1458">
                  <c:v>1.0137627656800223</c:v>
                </c:pt>
                <c:pt idx="1459">
                  <c:v>1.034037925115609</c:v>
                </c:pt>
                <c:pt idx="1460">
                  <c:v>1.0378701759032944</c:v>
                </c:pt>
                <c:pt idx="1461">
                  <c:v>1.0378701759032944</c:v>
                </c:pt>
                <c:pt idx="1462">
                  <c:v>1.0378701759032944</c:v>
                </c:pt>
                <c:pt idx="1463">
                  <c:v>1.0443657402115676</c:v>
                </c:pt>
                <c:pt idx="1464">
                  <c:v>1.0627666037201777</c:v>
                </c:pt>
                <c:pt idx="1465">
                  <c:v>1.0622475986672546</c:v>
                </c:pt>
                <c:pt idx="1466">
                  <c:v>1.0999570029987407</c:v>
                </c:pt>
                <c:pt idx="1467">
                  <c:v>1.06790600464474</c:v>
                </c:pt>
                <c:pt idx="1468">
                  <c:v>1.06790600464474</c:v>
                </c:pt>
                <c:pt idx="1469">
                  <c:v>1.06790600464474</c:v>
                </c:pt>
                <c:pt idx="1470">
                  <c:v>1.067235713118281</c:v>
                </c:pt>
                <c:pt idx="1471">
                  <c:v>1.0633643371530588</c:v>
                </c:pt>
                <c:pt idx="1472">
                  <c:v>1.0393824510336755</c:v>
                </c:pt>
                <c:pt idx="1473">
                  <c:v>1.0543943166255336</c:v>
                </c:pt>
                <c:pt idx="1474">
                  <c:v>1.0709906435239356</c:v>
                </c:pt>
                <c:pt idx="1475">
                  <c:v>1.0709906435239356</c:v>
                </c:pt>
                <c:pt idx="1476">
                  <c:v>1.0709906435239356</c:v>
                </c:pt>
                <c:pt idx="1477">
                  <c:v>1.089228536158895</c:v>
                </c:pt>
                <c:pt idx="1478">
                  <c:v>1.0986488308988225</c:v>
                </c:pt>
                <c:pt idx="1479">
                  <c:v>1.0801341905560626</c:v>
                </c:pt>
                <c:pt idx="1480">
                  <c:v>1.0666646041507404</c:v>
                </c:pt>
                <c:pt idx="1481">
                  <c:v>1.0772430857304354</c:v>
                </c:pt>
                <c:pt idx="1482">
                  <c:v>1.0772430857304354</c:v>
                </c:pt>
                <c:pt idx="1483">
                  <c:v>1.0772430857304354</c:v>
                </c:pt>
                <c:pt idx="1484">
                  <c:v>1.0810680085986624</c:v>
                </c:pt>
                <c:pt idx="1485">
                  <c:v>1.1014914183822802</c:v>
                </c:pt>
              </c:numCache>
            </c:numRef>
          </c:val>
          <c:smooth val="0"/>
          <c:extLst>
            <c:ext xmlns:c16="http://schemas.microsoft.com/office/drawing/2014/chart" uri="{C3380CC4-5D6E-409C-BE32-E72D297353CC}">
              <c16:uniqueId val="{00000002-1D55-4091-B462-1B341D70D85C}"/>
            </c:ext>
          </c:extLst>
        </c:ser>
        <c:ser>
          <c:idx val="3"/>
          <c:order val="3"/>
          <c:tx>
            <c:strRef>
              <c:f>Sheet1!$E$1</c:f>
              <c:strCache>
                <c:ptCount val="1"/>
                <c:pt idx="0">
                  <c:v>Benchmark return ZMW</c:v>
                </c:pt>
              </c:strCache>
            </c:strRef>
          </c:tx>
          <c:spPr>
            <a:ln w="12700" cap="rnd">
              <a:solidFill>
                <a:schemeClr val="bg1">
                  <a:lumMod val="65000"/>
                </a:schemeClr>
              </a:solidFill>
              <a:prstDash val="solid"/>
              <a:round/>
            </a:ln>
            <a:effectLst/>
          </c:spPr>
          <c:marker>
            <c:symbol val="none"/>
          </c:marker>
          <c:dLbls>
            <c:numFmt formatCode="0%" sourceLinked="0"/>
            <c:showLegendKey val="0"/>
            <c:showVal val="0"/>
            <c:showCatName val="0"/>
            <c:showSerName val="0"/>
            <c:showPercent val="0"/>
            <c:showBubbleSize val="0"/>
            <c:showLeaderLines val="1"/>
          </c:dLbls>
          <c:cat>
            <c:numRef>
              <c:f>Sheet1!$A$2:$A$1487</c:f>
              <c:numCache>
                <c:formatCode>yyyy\-mm\-dd</c:formatCode>
                <c:ptCount val="1486"/>
                <c:pt idx="0">
                  <c:v>44445.0</c:v>
                </c:pt>
                <c:pt idx="1">
                  <c:v>44446.0</c:v>
                </c:pt>
                <c:pt idx="2">
                  <c:v>44447.0</c:v>
                </c:pt>
                <c:pt idx="3">
                  <c:v>44448.0</c:v>
                </c:pt>
                <c:pt idx="4">
                  <c:v>44449.0</c:v>
                </c:pt>
                <c:pt idx="5">
                  <c:v>44450.0</c:v>
                </c:pt>
                <c:pt idx="6">
                  <c:v>44451.0</c:v>
                </c:pt>
                <c:pt idx="7">
                  <c:v>44452.0</c:v>
                </c:pt>
                <c:pt idx="8">
                  <c:v>44453.0</c:v>
                </c:pt>
                <c:pt idx="9">
                  <c:v>44454.0</c:v>
                </c:pt>
                <c:pt idx="10">
                  <c:v>44455.0</c:v>
                </c:pt>
                <c:pt idx="11">
                  <c:v>44456.0</c:v>
                </c:pt>
                <c:pt idx="12">
                  <c:v>44457.0</c:v>
                </c:pt>
                <c:pt idx="13">
                  <c:v>44458.0</c:v>
                </c:pt>
                <c:pt idx="14">
                  <c:v>44459.0</c:v>
                </c:pt>
                <c:pt idx="15">
                  <c:v>44460.0</c:v>
                </c:pt>
                <c:pt idx="16">
                  <c:v>44461.0</c:v>
                </c:pt>
                <c:pt idx="17">
                  <c:v>44462.0</c:v>
                </c:pt>
                <c:pt idx="18">
                  <c:v>44463.0</c:v>
                </c:pt>
                <c:pt idx="19">
                  <c:v>44464.0</c:v>
                </c:pt>
                <c:pt idx="20">
                  <c:v>44465.0</c:v>
                </c:pt>
                <c:pt idx="21">
                  <c:v>44466.0</c:v>
                </c:pt>
                <c:pt idx="22">
                  <c:v>44467.0</c:v>
                </c:pt>
                <c:pt idx="23">
                  <c:v>44468.0</c:v>
                </c:pt>
                <c:pt idx="24">
                  <c:v>44469.0</c:v>
                </c:pt>
                <c:pt idx="25">
                  <c:v>44470.0</c:v>
                </c:pt>
                <c:pt idx="26">
                  <c:v>44471.0</c:v>
                </c:pt>
                <c:pt idx="27">
                  <c:v>44472.0</c:v>
                </c:pt>
                <c:pt idx="28">
                  <c:v>44473.0</c:v>
                </c:pt>
                <c:pt idx="29">
                  <c:v>44474.0</c:v>
                </c:pt>
                <c:pt idx="30">
                  <c:v>44475.0</c:v>
                </c:pt>
                <c:pt idx="31">
                  <c:v>44476.0</c:v>
                </c:pt>
                <c:pt idx="32">
                  <c:v>44477.0</c:v>
                </c:pt>
                <c:pt idx="33">
                  <c:v>44478.0</c:v>
                </c:pt>
                <c:pt idx="34">
                  <c:v>44479.0</c:v>
                </c:pt>
                <c:pt idx="35">
                  <c:v>44480.0</c:v>
                </c:pt>
                <c:pt idx="36">
                  <c:v>44481.0</c:v>
                </c:pt>
                <c:pt idx="37">
                  <c:v>44482.0</c:v>
                </c:pt>
                <c:pt idx="38">
                  <c:v>44483.0</c:v>
                </c:pt>
                <c:pt idx="39">
                  <c:v>44484.0</c:v>
                </c:pt>
                <c:pt idx="40">
                  <c:v>44485.0</c:v>
                </c:pt>
                <c:pt idx="41">
                  <c:v>44486.0</c:v>
                </c:pt>
                <c:pt idx="42">
                  <c:v>44487.0</c:v>
                </c:pt>
                <c:pt idx="43">
                  <c:v>44488.0</c:v>
                </c:pt>
                <c:pt idx="44">
                  <c:v>44489.0</c:v>
                </c:pt>
                <c:pt idx="45">
                  <c:v>44490.0</c:v>
                </c:pt>
                <c:pt idx="46">
                  <c:v>44491.0</c:v>
                </c:pt>
                <c:pt idx="47">
                  <c:v>44492.0</c:v>
                </c:pt>
                <c:pt idx="48">
                  <c:v>44493.0</c:v>
                </c:pt>
                <c:pt idx="49">
                  <c:v>44494.0</c:v>
                </c:pt>
                <c:pt idx="50">
                  <c:v>44495.0</c:v>
                </c:pt>
                <c:pt idx="51">
                  <c:v>44496.0</c:v>
                </c:pt>
                <c:pt idx="52">
                  <c:v>44497.0</c:v>
                </c:pt>
                <c:pt idx="53">
                  <c:v>44498.0</c:v>
                </c:pt>
                <c:pt idx="54">
                  <c:v>44499.0</c:v>
                </c:pt>
                <c:pt idx="55">
                  <c:v>44500.0</c:v>
                </c:pt>
                <c:pt idx="56">
                  <c:v>44501.0</c:v>
                </c:pt>
                <c:pt idx="57">
                  <c:v>44502.0</c:v>
                </c:pt>
                <c:pt idx="58">
                  <c:v>44503.0</c:v>
                </c:pt>
                <c:pt idx="59">
                  <c:v>44504.0</c:v>
                </c:pt>
                <c:pt idx="60">
                  <c:v>44505.0</c:v>
                </c:pt>
                <c:pt idx="61">
                  <c:v>44506.0</c:v>
                </c:pt>
                <c:pt idx="62">
                  <c:v>44507.0</c:v>
                </c:pt>
                <c:pt idx="63">
                  <c:v>44508.0</c:v>
                </c:pt>
                <c:pt idx="64">
                  <c:v>44509.0</c:v>
                </c:pt>
                <c:pt idx="65">
                  <c:v>44510.0</c:v>
                </c:pt>
                <c:pt idx="66">
                  <c:v>44511.0</c:v>
                </c:pt>
                <c:pt idx="67">
                  <c:v>44512.0</c:v>
                </c:pt>
                <c:pt idx="68">
                  <c:v>44513.0</c:v>
                </c:pt>
                <c:pt idx="69">
                  <c:v>44514.0</c:v>
                </c:pt>
                <c:pt idx="70">
                  <c:v>44515.0</c:v>
                </c:pt>
                <c:pt idx="71">
                  <c:v>44516.0</c:v>
                </c:pt>
                <c:pt idx="72">
                  <c:v>44517.0</c:v>
                </c:pt>
                <c:pt idx="73">
                  <c:v>44518.0</c:v>
                </c:pt>
                <c:pt idx="74">
                  <c:v>44519.0</c:v>
                </c:pt>
                <c:pt idx="75">
                  <c:v>44520.0</c:v>
                </c:pt>
                <c:pt idx="76">
                  <c:v>44521.0</c:v>
                </c:pt>
                <c:pt idx="77">
                  <c:v>44522.0</c:v>
                </c:pt>
                <c:pt idx="78">
                  <c:v>44523.0</c:v>
                </c:pt>
                <c:pt idx="79">
                  <c:v>44524.0</c:v>
                </c:pt>
                <c:pt idx="80">
                  <c:v>44525.0</c:v>
                </c:pt>
                <c:pt idx="81">
                  <c:v>44526.0</c:v>
                </c:pt>
                <c:pt idx="82">
                  <c:v>44527.0</c:v>
                </c:pt>
                <c:pt idx="83">
                  <c:v>44528.0</c:v>
                </c:pt>
                <c:pt idx="84">
                  <c:v>44529.0</c:v>
                </c:pt>
                <c:pt idx="85">
                  <c:v>44530.0</c:v>
                </c:pt>
                <c:pt idx="86">
                  <c:v>44531.0</c:v>
                </c:pt>
                <c:pt idx="87">
                  <c:v>44532.0</c:v>
                </c:pt>
                <c:pt idx="88">
                  <c:v>44533.0</c:v>
                </c:pt>
                <c:pt idx="89">
                  <c:v>44534.0</c:v>
                </c:pt>
                <c:pt idx="90">
                  <c:v>44535.0</c:v>
                </c:pt>
                <c:pt idx="91">
                  <c:v>44536.0</c:v>
                </c:pt>
                <c:pt idx="92">
                  <c:v>44537.0</c:v>
                </c:pt>
                <c:pt idx="93">
                  <c:v>44538.0</c:v>
                </c:pt>
                <c:pt idx="94">
                  <c:v>44539.0</c:v>
                </c:pt>
                <c:pt idx="95">
                  <c:v>44540.0</c:v>
                </c:pt>
                <c:pt idx="96">
                  <c:v>44541.0</c:v>
                </c:pt>
                <c:pt idx="97">
                  <c:v>44542.0</c:v>
                </c:pt>
                <c:pt idx="98">
                  <c:v>44543.0</c:v>
                </c:pt>
                <c:pt idx="99">
                  <c:v>44544.0</c:v>
                </c:pt>
                <c:pt idx="100">
                  <c:v>44545.0</c:v>
                </c:pt>
                <c:pt idx="101">
                  <c:v>44546.0</c:v>
                </c:pt>
                <c:pt idx="102">
                  <c:v>44547.0</c:v>
                </c:pt>
                <c:pt idx="103">
                  <c:v>44548.0</c:v>
                </c:pt>
                <c:pt idx="104">
                  <c:v>44549.0</c:v>
                </c:pt>
                <c:pt idx="105">
                  <c:v>44550.0</c:v>
                </c:pt>
                <c:pt idx="106">
                  <c:v>44551.0</c:v>
                </c:pt>
                <c:pt idx="107">
                  <c:v>44552.0</c:v>
                </c:pt>
                <c:pt idx="108">
                  <c:v>44553.0</c:v>
                </c:pt>
                <c:pt idx="109">
                  <c:v>44554.0</c:v>
                </c:pt>
                <c:pt idx="110">
                  <c:v>44555.0</c:v>
                </c:pt>
                <c:pt idx="111">
                  <c:v>44556.0</c:v>
                </c:pt>
                <c:pt idx="112">
                  <c:v>44557.0</c:v>
                </c:pt>
                <c:pt idx="113">
                  <c:v>44558.0</c:v>
                </c:pt>
                <c:pt idx="114">
                  <c:v>44559.0</c:v>
                </c:pt>
                <c:pt idx="115">
                  <c:v>44560.0</c:v>
                </c:pt>
                <c:pt idx="116">
                  <c:v>44561.0</c:v>
                </c:pt>
                <c:pt idx="117">
                  <c:v>44562.0</c:v>
                </c:pt>
                <c:pt idx="118">
                  <c:v>44563.0</c:v>
                </c:pt>
                <c:pt idx="119">
                  <c:v>44564.0</c:v>
                </c:pt>
                <c:pt idx="120">
                  <c:v>44565.0</c:v>
                </c:pt>
                <c:pt idx="121">
                  <c:v>44566.0</c:v>
                </c:pt>
                <c:pt idx="122">
                  <c:v>44567.0</c:v>
                </c:pt>
                <c:pt idx="123">
                  <c:v>44568.0</c:v>
                </c:pt>
                <c:pt idx="124">
                  <c:v>44569.0</c:v>
                </c:pt>
                <c:pt idx="125">
                  <c:v>44570.0</c:v>
                </c:pt>
                <c:pt idx="126">
                  <c:v>44571.0</c:v>
                </c:pt>
                <c:pt idx="127">
                  <c:v>44572.0</c:v>
                </c:pt>
                <c:pt idx="128">
                  <c:v>44573.0</c:v>
                </c:pt>
                <c:pt idx="129">
                  <c:v>44574.0</c:v>
                </c:pt>
                <c:pt idx="130">
                  <c:v>44575.0</c:v>
                </c:pt>
                <c:pt idx="131">
                  <c:v>44576.0</c:v>
                </c:pt>
                <c:pt idx="132">
                  <c:v>44577.0</c:v>
                </c:pt>
                <c:pt idx="133">
                  <c:v>44578.0</c:v>
                </c:pt>
                <c:pt idx="134">
                  <c:v>44579.0</c:v>
                </c:pt>
                <c:pt idx="135">
                  <c:v>44580.0</c:v>
                </c:pt>
                <c:pt idx="136">
                  <c:v>44581.0</c:v>
                </c:pt>
                <c:pt idx="137">
                  <c:v>44582.0</c:v>
                </c:pt>
                <c:pt idx="138">
                  <c:v>44583.0</c:v>
                </c:pt>
                <c:pt idx="139">
                  <c:v>44584.0</c:v>
                </c:pt>
                <c:pt idx="140">
                  <c:v>44585.0</c:v>
                </c:pt>
                <c:pt idx="141">
                  <c:v>44586.0</c:v>
                </c:pt>
                <c:pt idx="142">
                  <c:v>44587.0</c:v>
                </c:pt>
                <c:pt idx="143">
                  <c:v>44588.0</c:v>
                </c:pt>
                <c:pt idx="144">
                  <c:v>44589.0</c:v>
                </c:pt>
                <c:pt idx="145">
                  <c:v>44590.0</c:v>
                </c:pt>
                <c:pt idx="146">
                  <c:v>44591.0</c:v>
                </c:pt>
                <c:pt idx="147">
                  <c:v>44592.0</c:v>
                </c:pt>
                <c:pt idx="148">
                  <c:v>44593.0</c:v>
                </c:pt>
                <c:pt idx="149">
                  <c:v>44594.0</c:v>
                </c:pt>
                <c:pt idx="150">
                  <c:v>44595.0</c:v>
                </c:pt>
                <c:pt idx="151">
                  <c:v>44596.0</c:v>
                </c:pt>
                <c:pt idx="152">
                  <c:v>44597.0</c:v>
                </c:pt>
                <c:pt idx="153">
                  <c:v>44598.0</c:v>
                </c:pt>
                <c:pt idx="154">
                  <c:v>44599.0</c:v>
                </c:pt>
                <c:pt idx="155">
                  <c:v>44600.0</c:v>
                </c:pt>
                <c:pt idx="156">
                  <c:v>44601.0</c:v>
                </c:pt>
                <c:pt idx="157">
                  <c:v>44602.0</c:v>
                </c:pt>
                <c:pt idx="158">
                  <c:v>44603.0</c:v>
                </c:pt>
                <c:pt idx="159">
                  <c:v>44604.0</c:v>
                </c:pt>
                <c:pt idx="160">
                  <c:v>44605.0</c:v>
                </c:pt>
                <c:pt idx="161">
                  <c:v>44606.0</c:v>
                </c:pt>
                <c:pt idx="162">
                  <c:v>44607.0</c:v>
                </c:pt>
                <c:pt idx="163">
                  <c:v>44608.0</c:v>
                </c:pt>
                <c:pt idx="164">
                  <c:v>44609.0</c:v>
                </c:pt>
                <c:pt idx="165">
                  <c:v>44610.0</c:v>
                </c:pt>
                <c:pt idx="166">
                  <c:v>44611.0</c:v>
                </c:pt>
                <c:pt idx="167">
                  <c:v>44612.0</c:v>
                </c:pt>
                <c:pt idx="168">
                  <c:v>44613.0</c:v>
                </c:pt>
                <c:pt idx="169">
                  <c:v>44614.0</c:v>
                </c:pt>
                <c:pt idx="170">
                  <c:v>44615.0</c:v>
                </c:pt>
                <c:pt idx="171">
                  <c:v>44616.0</c:v>
                </c:pt>
                <c:pt idx="172">
                  <c:v>44617.0</c:v>
                </c:pt>
                <c:pt idx="173">
                  <c:v>44618.0</c:v>
                </c:pt>
                <c:pt idx="174">
                  <c:v>44619.0</c:v>
                </c:pt>
                <c:pt idx="175">
                  <c:v>44620.0</c:v>
                </c:pt>
                <c:pt idx="176">
                  <c:v>44621.0</c:v>
                </c:pt>
                <c:pt idx="177">
                  <c:v>44622.0</c:v>
                </c:pt>
                <c:pt idx="178">
                  <c:v>44623.0</c:v>
                </c:pt>
                <c:pt idx="179">
                  <c:v>44624.0</c:v>
                </c:pt>
                <c:pt idx="180">
                  <c:v>44625.0</c:v>
                </c:pt>
                <c:pt idx="181">
                  <c:v>44626.0</c:v>
                </c:pt>
                <c:pt idx="182">
                  <c:v>44627.0</c:v>
                </c:pt>
                <c:pt idx="183">
                  <c:v>44628.0</c:v>
                </c:pt>
                <c:pt idx="184">
                  <c:v>44629.0</c:v>
                </c:pt>
                <c:pt idx="185">
                  <c:v>44630.0</c:v>
                </c:pt>
                <c:pt idx="186">
                  <c:v>44631.0</c:v>
                </c:pt>
                <c:pt idx="187">
                  <c:v>44632.0</c:v>
                </c:pt>
                <c:pt idx="188">
                  <c:v>44633.0</c:v>
                </c:pt>
                <c:pt idx="189">
                  <c:v>44634.0</c:v>
                </c:pt>
                <c:pt idx="190">
                  <c:v>44635.0</c:v>
                </c:pt>
                <c:pt idx="191">
                  <c:v>44636.0</c:v>
                </c:pt>
                <c:pt idx="192">
                  <c:v>44637.0</c:v>
                </c:pt>
                <c:pt idx="193">
                  <c:v>44638.0</c:v>
                </c:pt>
                <c:pt idx="194">
                  <c:v>44639.0</c:v>
                </c:pt>
                <c:pt idx="195">
                  <c:v>44640.0</c:v>
                </c:pt>
                <c:pt idx="196">
                  <c:v>44641.0</c:v>
                </c:pt>
                <c:pt idx="197">
                  <c:v>44642.0</c:v>
                </c:pt>
                <c:pt idx="198">
                  <c:v>44643.0</c:v>
                </c:pt>
                <c:pt idx="199">
                  <c:v>44644.0</c:v>
                </c:pt>
                <c:pt idx="200">
                  <c:v>44645.0</c:v>
                </c:pt>
                <c:pt idx="201">
                  <c:v>44646.0</c:v>
                </c:pt>
                <c:pt idx="202">
                  <c:v>44647.0</c:v>
                </c:pt>
                <c:pt idx="203">
                  <c:v>44648.0</c:v>
                </c:pt>
                <c:pt idx="204">
                  <c:v>44649.0</c:v>
                </c:pt>
                <c:pt idx="205">
                  <c:v>44650.0</c:v>
                </c:pt>
                <c:pt idx="206">
                  <c:v>44651.0</c:v>
                </c:pt>
                <c:pt idx="207">
                  <c:v>44652.0</c:v>
                </c:pt>
                <c:pt idx="208">
                  <c:v>44653.0</c:v>
                </c:pt>
                <c:pt idx="209">
                  <c:v>44654.0</c:v>
                </c:pt>
                <c:pt idx="210">
                  <c:v>44655.0</c:v>
                </c:pt>
                <c:pt idx="211">
                  <c:v>44656.0</c:v>
                </c:pt>
                <c:pt idx="212">
                  <c:v>44657.0</c:v>
                </c:pt>
                <c:pt idx="213">
                  <c:v>44658.0</c:v>
                </c:pt>
                <c:pt idx="214">
                  <c:v>44659.0</c:v>
                </c:pt>
                <c:pt idx="215">
                  <c:v>44660.0</c:v>
                </c:pt>
                <c:pt idx="216">
                  <c:v>44661.0</c:v>
                </c:pt>
                <c:pt idx="217">
                  <c:v>44662.0</c:v>
                </c:pt>
                <c:pt idx="218">
                  <c:v>44663.0</c:v>
                </c:pt>
                <c:pt idx="219">
                  <c:v>44664.0</c:v>
                </c:pt>
                <c:pt idx="220">
                  <c:v>44665.0</c:v>
                </c:pt>
                <c:pt idx="221">
                  <c:v>44666.0</c:v>
                </c:pt>
                <c:pt idx="222">
                  <c:v>44667.0</c:v>
                </c:pt>
                <c:pt idx="223">
                  <c:v>44668.0</c:v>
                </c:pt>
                <c:pt idx="224">
                  <c:v>44669.0</c:v>
                </c:pt>
                <c:pt idx="225">
                  <c:v>44670.0</c:v>
                </c:pt>
                <c:pt idx="226">
                  <c:v>44671.0</c:v>
                </c:pt>
                <c:pt idx="227">
                  <c:v>44672.0</c:v>
                </c:pt>
                <c:pt idx="228">
                  <c:v>44673.0</c:v>
                </c:pt>
                <c:pt idx="229">
                  <c:v>44674.0</c:v>
                </c:pt>
                <c:pt idx="230">
                  <c:v>44675.0</c:v>
                </c:pt>
                <c:pt idx="231">
                  <c:v>44676.0</c:v>
                </c:pt>
                <c:pt idx="232">
                  <c:v>44677.0</c:v>
                </c:pt>
                <c:pt idx="233">
                  <c:v>44678.0</c:v>
                </c:pt>
                <c:pt idx="234">
                  <c:v>44679.0</c:v>
                </c:pt>
                <c:pt idx="235">
                  <c:v>44680.0</c:v>
                </c:pt>
                <c:pt idx="236">
                  <c:v>44681.0</c:v>
                </c:pt>
                <c:pt idx="237">
                  <c:v>44682.0</c:v>
                </c:pt>
                <c:pt idx="238">
                  <c:v>44683.0</c:v>
                </c:pt>
                <c:pt idx="239">
                  <c:v>44684.0</c:v>
                </c:pt>
                <c:pt idx="240">
                  <c:v>44685.0</c:v>
                </c:pt>
                <c:pt idx="241">
                  <c:v>44686.0</c:v>
                </c:pt>
                <c:pt idx="242">
                  <c:v>44687.0</c:v>
                </c:pt>
                <c:pt idx="243">
                  <c:v>44688.0</c:v>
                </c:pt>
                <c:pt idx="244">
                  <c:v>44689.0</c:v>
                </c:pt>
                <c:pt idx="245">
                  <c:v>44690.0</c:v>
                </c:pt>
                <c:pt idx="246">
                  <c:v>44691.0</c:v>
                </c:pt>
                <c:pt idx="247">
                  <c:v>44692.0</c:v>
                </c:pt>
                <c:pt idx="248">
                  <c:v>44693.0</c:v>
                </c:pt>
                <c:pt idx="249">
                  <c:v>44694.0</c:v>
                </c:pt>
                <c:pt idx="250">
                  <c:v>44695.0</c:v>
                </c:pt>
                <c:pt idx="251">
                  <c:v>44696.0</c:v>
                </c:pt>
                <c:pt idx="252">
                  <c:v>44697.0</c:v>
                </c:pt>
                <c:pt idx="253">
                  <c:v>44698.0</c:v>
                </c:pt>
                <c:pt idx="254">
                  <c:v>44699.0</c:v>
                </c:pt>
                <c:pt idx="255">
                  <c:v>44700.0</c:v>
                </c:pt>
                <c:pt idx="256">
                  <c:v>44701.0</c:v>
                </c:pt>
                <c:pt idx="257">
                  <c:v>44702.0</c:v>
                </c:pt>
                <c:pt idx="258">
                  <c:v>44703.0</c:v>
                </c:pt>
                <c:pt idx="259">
                  <c:v>44704.0</c:v>
                </c:pt>
                <c:pt idx="260">
                  <c:v>44705.0</c:v>
                </c:pt>
                <c:pt idx="261">
                  <c:v>44706.0</c:v>
                </c:pt>
                <c:pt idx="262">
                  <c:v>44707.0</c:v>
                </c:pt>
                <c:pt idx="263">
                  <c:v>44708.0</c:v>
                </c:pt>
                <c:pt idx="264">
                  <c:v>44709.0</c:v>
                </c:pt>
                <c:pt idx="265">
                  <c:v>44710.0</c:v>
                </c:pt>
                <c:pt idx="266">
                  <c:v>44711.0</c:v>
                </c:pt>
                <c:pt idx="267">
                  <c:v>44712.0</c:v>
                </c:pt>
                <c:pt idx="268">
                  <c:v>44713.0</c:v>
                </c:pt>
                <c:pt idx="269">
                  <c:v>44714.0</c:v>
                </c:pt>
                <c:pt idx="270">
                  <c:v>44715.0</c:v>
                </c:pt>
                <c:pt idx="271">
                  <c:v>44716.0</c:v>
                </c:pt>
                <c:pt idx="272">
                  <c:v>44717.0</c:v>
                </c:pt>
                <c:pt idx="273">
                  <c:v>44718.0</c:v>
                </c:pt>
                <c:pt idx="274">
                  <c:v>44719.0</c:v>
                </c:pt>
                <c:pt idx="275">
                  <c:v>44720.0</c:v>
                </c:pt>
                <c:pt idx="276">
                  <c:v>44721.0</c:v>
                </c:pt>
                <c:pt idx="277">
                  <c:v>44722.0</c:v>
                </c:pt>
                <c:pt idx="278">
                  <c:v>44723.0</c:v>
                </c:pt>
                <c:pt idx="279">
                  <c:v>44724.0</c:v>
                </c:pt>
                <c:pt idx="280">
                  <c:v>44725.0</c:v>
                </c:pt>
                <c:pt idx="281">
                  <c:v>44726.0</c:v>
                </c:pt>
                <c:pt idx="282">
                  <c:v>44727.0</c:v>
                </c:pt>
                <c:pt idx="283">
                  <c:v>44728.0</c:v>
                </c:pt>
                <c:pt idx="284">
                  <c:v>44729.0</c:v>
                </c:pt>
                <c:pt idx="285">
                  <c:v>44730.0</c:v>
                </c:pt>
                <c:pt idx="286">
                  <c:v>44731.0</c:v>
                </c:pt>
                <c:pt idx="287">
                  <c:v>44732.0</c:v>
                </c:pt>
                <c:pt idx="288">
                  <c:v>44733.0</c:v>
                </c:pt>
                <c:pt idx="289">
                  <c:v>44734.0</c:v>
                </c:pt>
                <c:pt idx="290">
                  <c:v>44735.0</c:v>
                </c:pt>
                <c:pt idx="291">
                  <c:v>44736.0</c:v>
                </c:pt>
                <c:pt idx="292">
                  <c:v>44737.0</c:v>
                </c:pt>
                <c:pt idx="293">
                  <c:v>44738.0</c:v>
                </c:pt>
                <c:pt idx="294">
                  <c:v>44739.0</c:v>
                </c:pt>
                <c:pt idx="295">
                  <c:v>44740.0</c:v>
                </c:pt>
                <c:pt idx="296">
                  <c:v>44741.0</c:v>
                </c:pt>
                <c:pt idx="297">
                  <c:v>44742.0</c:v>
                </c:pt>
                <c:pt idx="298">
                  <c:v>44743.0</c:v>
                </c:pt>
                <c:pt idx="299">
                  <c:v>44744.0</c:v>
                </c:pt>
                <c:pt idx="300">
                  <c:v>44745.0</c:v>
                </c:pt>
                <c:pt idx="301">
                  <c:v>44746.0</c:v>
                </c:pt>
                <c:pt idx="302">
                  <c:v>44747.0</c:v>
                </c:pt>
                <c:pt idx="303">
                  <c:v>44748.0</c:v>
                </c:pt>
                <c:pt idx="304">
                  <c:v>44749.0</c:v>
                </c:pt>
                <c:pt idx="305">
                  <c:v>44750.0</c:v>
                </c:pt>
                <c:pt idx="306">
                  <c:v>44751.0</c:v>
                </c:pt>
                <c:pt idx="307">
                  <c:v>44752.0</c:v>
                </c:pt>
                <c:pt idx="308">
                  <c:v>44753.0</c:v>
                </c:pt>
                <c:pt idx="309">
                  <c:v>44754.0</c:v>
                </c:pt>
                <c:pt idx="310">
                  <c:v>44755.0</c:v>
                </c:pt>
                <c:pt idx="311">
                  <c:v>44756.0</c:v>
                </c:pt>
                <c:pt idx="312">
                  <c:v>44757.0</c:v>
                </c:pt>
                <c:pt idx="313">
                  <c:v>44758.0</c:v>
                </c:pt>
                <c:pt idx="314">
                  <c:v>44759.0</c:v>
                </c:pt>
                <c:pt idx="315">
                  <c:v>44760.0</c:v>
                </c:pt>
                <c:pt idx="316">
                  <c:v>44761.0</c:v>
                </c:pt>
                <c:pt idx="317">
                  <c:v>44762.0</c:v>
                </c:pt>
                <c:pt idx="318">
                  <c:v>44763.0</c:v>
                </c:pt>
                <c:pt idx="319">
                  <c:v>44764.0</c:v>
                </c:pt>
                <c:pt idx="320">
                  <c:v>44765.0</c:v>
                </c:pt>
                <c:pt idx="321">
                  <c:v>44766.0</c:v>
                </c:pt>
                <c:pt idx="322">
                  <c:v>44767.0</c:v>
                </c:pt>
                <c:pt idx="323">
                  <c:v>44768.0</c:v>
                </c:pt>
                <c:pt idx="324">
                  <c:v>44769.0</c:v>
                </c:pt>
                <c:pt idx="325">
                  <c:v>44770.0</c:v>
                </c:pt>
                <c:pt idx="326">
                  <c:v>44771.0</c:v>
                </c:pt>
                <c:pt idx="327">
                  <c:v>44772.0</c:v>
                </c:pt>
                <c:pt idx="328">
                  <c:v>44773.0</c:v>
                </c:pt>
                <c:pt idx="329">
                  <c:v>44774.0</c:v>
                </c:pt>
                <c:pt idx="330">
                  <c:v>44775.0</c:v>
                </c:pt>
                <c:pt idx="331">
                  <c:v>44776.0</c:v>
                </c:pt>
                <c:pt idx="332">
                  <c:v>44777.0</c:v>
                </c:pt>
                <c:pt idx="333">
                  <c:v>44778.0</c:v>
                </c:pt>
                <c:pt idx="334">
                  <c:v>44779.0</c:v>
                </c:pt>
                <c:pt idx="335">
                  <c:v>44780.0</c:v>
                </c:pt>
                <c:pt idx="336">
                  <c:v>44781.0</c:v>
                </c:pt>
                <c:pt idx="337">
                  <c:v>44782.0</c:v>
                </c:pt>
                <c:pt idx="338">
                  <c:v>44783.0</c:v>
                </c:pt>
                <c:pt idx="339">
                  <c:v>44784.0</c:v>
                </c:pt>
                <c:pt idx="340">
                  <c:v>44785.0</c:v>
                </c:pt>
                <c:pt idx="341">
                  <c:v>44786.0</c:v>
                </c:pt>
                <c:pt idx="342">
                  <c:v>44787.0</c:v>
                </c:pt>
                <c:pt idx="343">
                  <c:v>44788.0</c:v>
                </c:pt>
                <c:pt idx="344">
                  <c:v>44789.0</c:v>
                </c:pt>
                <c:pt idx="345">
                  <c:v>44790.0</c:v>
                </c:pt>
                <c:pt idx="346">
                  <c:v>44791.0</c:v>
                </c:pt>
                <c:pt idx="347">
                  <c:v>44792.0</c:v>
                </c:pt>
                <c:pt idx="348">
                  <c:v>44793.0</c:v>
                </c:pt>
                <c:pt idx="349">
                  <c:v>44794.0</c:v>
                </c:pt>
                <c:pt idx="350">
                  <c:v>44795.0</c:v>
                </c:pt>
                <c:pt idx="351">
                  <c:v>44796.0</c:v>
                </c:pt>
                <c:pt idx="352">
                  <c:v>44797.0</c:v>
                </c:pt>
                <c:pt idx="353">
                  <c:v>44798.0</c:v>
                </c:pt>
                <c:pt idx="354">
                  <c:v>44799.0</c:v>
                </c:pt>
                <c:pt idx="355">
                  <c:v>44800.0</c:v>
                </c:pt>
                <c:pt idx="356">
                  <c:v>44801.0</c:v>
                </c:pt>
                <c:pt idx="357">
                  <c:v>44802.0</c:v>
                </c:pt>
                <c:pt idx="358">
                  <c:v>44803.0</c:v>
                </c:pt>
                <c:pt idx="359">
                  <c:v>44804.0</c:v>
                </c:pt>
                <c:pt idx="360">
                  <c:v>44805.0</c:v>
                </c:pt>
                <c:pt idx="361">
                  <c:v>44806.0</c:v>
                </c:pt>
                <c:pt idx="362">
                  <c:v>44807.0</c:v>
                </c:pt>
                <c:pt idx="363">
                  <c:v>44808.0</c:v>
                </c:pt>
                <c:pt idx="364">
                  <c:v>44809.0</c:v>
                </c:pt>
                <c:pt idx="365">
                  <c:v>44810.0</c:v>
                </c:pt>
                <c:pt idx="366">
                  <c:v>44811.0</c:v>
                </c:pt>
                <c:pt idx="367">
                  <c:v>44812.0</c:v>
                </c:pt>
                <c:pt idx="368">
                  <c:v>44813.0</c:v>
                </c:pt>
                <c:pt idx="369">
                  <c:v>44814.0</c:v>
                </c:pt>
                <c:pt idx="370">
                  <c:v>44815.0</c:v>
                </c:pt>
                <c:pt idx="371">
                  <c:v>44816.0</c:v>
                </c:pt>
                <c:pt idx="372">
                  <c:v>44817.0</c:v>
                </c:pt>
                <c:pt idx="373">
                  <c:v>44818.0</c:v>
                </c:pt>
                <c:pt idx="374">
                  <c:v>44819.0</c:v>
                </c:pt>
                <c:pt idx="375">
                  <c:v>44820.0</c:v>
                </c:pt>
                <c:pt idx="376">
                  <c:v>44821.0</c:v>
                </c:pt>
                <c:pt idx="377">
                  <c:v>44822.0</c:v>
                </c:pt>
                <c:pt idx="378">
                  <c:v>44823.0</c:v>
                </c:pt>
                <c:pt idx="379">
                  <c:v>44824.0</c:v>
                </c:pt>
                <c:pt idx="380">
                  <c:v>44825.0</c:v>
                </c:pt>
                <c:pt idx="381">
                  <c:v>44826.0</c:v>
                </c:pt>
                <c:pt idx="382">
                  <c:v>44827.0</c:v>
                </c:pt>
                <c:pt idx="383">
                  <c:v>44828.0</c:v>
                </c:pt>
                <c:pt idx="384">
                  <c:v>44829.0</c:v>
                </c:pt>
                <c:pt idx="385">
                  <c:v>44830.0</c:v>
                </c:pt>
                <c:pt idx="386">
                  <c:v>44831.0</c:v>
                </c:pt>
                <c:pt idx="387">
                  <c:v>44832.0</c:v>
                </c:pt>
                <c:pt idx="388">
                  <c:v>44833.0</c:v>
                </c:pt>
                <c:pt idx="389">
                  <c:v>44834.0</c:v>
                </c:pt>
                <c:pt idx="390">
                  <c:v>44835.0</c:v>
                </c:pt>
                <c:pt idx="391">
                  <c:v>44836.0</c:v>
                </c:pt>
                <c:pt idx="392">
                  <c:v>44837.0</c:v>
                </c:pt>
                <c:pt idx="393">
                  <c:v>44838.0</c:v>
                </c:pt>
                <c:pt idx="394">
                  <c:v>44839.0</c:v>
                </c:pt>
                <c:pt idx="395">
                  <c:v>44840.0</c:v>
                </c:pt>
                <c:pt idx="396">
                  <c:v>44841.0</c:v>
                </c:pt>
                <c:pt idx="397">
                  <c:v>44842.0</c:v>
                </c:pt>
                <c:pt idx="398">
                  <c:v>44843.0</c:v>
                </c:pt>
                <c:pt idx="399">
                  <c:v>44844.0</c:v>
                </c:pt>
                <c:pt idx="400">
                  <c:v>44845.0</c:v>
                </c:pt>
                <c:pt idx="401">
                  <c:v>44846.0</c:v>
                </c:pt>
                <c:pt idx="402">
                  <c:v>44847.0</c:v>
                </c:pt>
                <c:pt idx="403">
                  <c:v>44848.0</c:v>
                </c:pt>
                <c:pt idx="404">
                  <c:v>44849.0</c:v>
                </c:pt>
                <c:pt idx="405">
                  <c:v>44850.0</c:v>
                </c:pt>
                <c:pt idx="406">
                  <c:v>44851.0</c:v>
                </c:pt>
                <c:pt idx="407">
                  <c:v>44852.0</c:v>
                </c:pt>
                <c:pt idx="408">
                  <c:v>44853.0</c:v>
                </c:pt>
                <c:pt idx="409">
                  <c:v>44854.0</c:v>
                </c:pt>
                <c:pt idx="410">
                  <c:v>44855.0</c:v>
                </c:pt>
                <c:pt idx="411">
                  <c:v>44856.0</c:v>
                </c:pt>
                <c:pt idx="412">
                  <c:v>44857.0</c:v>
                </c:pt>
                <c:pt idx="413">
                  <c:v>44858.0</c:v>
                </c:pt>
                <c:pt idx="414">
                  <c:v>44859.0</c:v>
                </c:pt>
                <c:pt idx="415">
                  <c:v>44860.0</c:v>
                </c:pt>
                <c:pt idx="416">
                  <c:v>44861.0</c:v>
                </c:pt>
                <c:pt idx="417">
                  <c:v>44862.0</c:v>
                </c:pt>
                <c:pt idx="418">
                  <c:v>44863.0</c:v>
                </c:pt>
                <c:pt idx="419">
                  <c:v>44864.0</c:v>
                </c:pt>
                <c:pt idx="420">
                  <c:v>44865.0</c:v>
                </c:pt>
                <c:pt idx="421">
                  <c:v>44866.0</c:v>
                </c:pt>
                <c:pt idx="422">
                  <c:v>44867.0</c:v>
                </c:pt>
                <c:pt idx="423">
                  <c:v>44868.0</c:v>
                </c:pt>
                <c:pt idx="424">
                  <c:v>44869.0</c:v>
                </c:pt>
                <c:pt idx="425">
                  <c:v>44870.0</c:v>
                </c:pt>
                <c:pt idx="426">
                  <c:v>44871.0</c:v>
                </c:pt>
                <c:pt idx="427">
                  <c:v>44872.0</c:v>
                </c:pt>
                <c:pt idx="428">
                  <c:v>44873.0</c:v>
                </c:pt>
                <c:pt idx="429">
                  <c:v>44874.0</c:v>
                </c:pt>
                <c:pt idx="430">
                  <c:v>44875.0</c:v>
                </c:pt>
                <c:pt idx="431">
                  <c:v>44876.0</c:v>
                </c:pt>
                <c:pt idx="432">
                  <c:v>44877.0</c:v>
                </c:pt>
                <c:pt idx="433">
                  <c:v>44878.0</c:v>
                </c:pt>
                <c:pt idx="434">
                  <c:v>44879.0</c:v>
                </c:pt>
                <c:pt idx="435">
                  <c:v>44880.0</c:v>
                </c:pt>
                <c:pt idx="436">
                  <c:v>44881.0</c:v>
                </c:pt>
                <c:pt idx="437">
                  <c:v>44882.0</c:v>
                </c:pt>
                <c:pt idx="438">
                  <c:v>44883.0</c:v>
                </c:pt>
                <c:pt idx="439">
                  <c:v>44884.0</c:v>
                </c:pt>
                <c:pt idx="440">
                  <c:v>44885.0</c:v>
                </c:pt>
                <c:pt idx="441">
                  <c:v>44886.0</c:v>
                </c:pt>
                <c:pt idx="442">
                  <c:v>44887.0</c:v>
                </c:pt>
                <c:pt idx="443">
                  <c:v>44888.0</c:v>
                </c:pt>
                <c:pt idx="444">
                  <c:v>44889.0</c:v>
                </c:pt>
                <c:pt idx="445">
                  <c:v>44890.0</c:v>
                </c:pt>
                <c:pt idx="446">
                  <c:v>44891.0</c:v>
                </c:pt>
                <c:pt idx="447">
                  <c:v>44892.0</c:v>
                </c:pt>
                <c:pt idx="448">
                  <c:v>44893.0</c:v>
                </c:pt>
                <c:pt idx="449">
                  <c:v>44894.0</c:v>
                </c:pt>
                <c:pt idx="450">
                  <c:v>44895.0</c:v>
                </c:pt>
                <c:pt idx="451">
                  <c:v>44896.0</c:v>
                </c:pt>
                <c:pt idx="452">
                  <c:v>44897.0</c:v>
                </c:pt>
                <c:pt idx="453">
                  <c:v>44898.0</c:v>
                </c:pt>
                <c:pt idx="454">
                  <c:v>44899.0</c:v>
                </c:pt>
                <c:pt idx="455">
                  <c:v>44900.0</c:v>
                </c:pt>
                <c:pt idx="456">
                  <c:v>44901.0</c:v>
                </c:pt>
                <c:pt idx="457">
                  <c:v>44902.0</c:v>
                </c:pt>
                <c:pt idx="458">
                  <c:v>44903.0</c:v>
                </c:pt>
                <c:pt idx="459">
                  <c:v>44904.0</c:v>
                </c:pt>
                <c:pt idx="460">
                  <c:v>44905.0</c:v>
                </c:pt>
                <c:pt idx="461">
                  <c:v>44906.0</c:v>
                </c:pt>
                <c:pt idx="462">
                  <c:v>44907.0</c:v>
                </c:pt>
                <c:pt idx="463">
                  <c:v>44908.0</c:v>
                </c:pt>
                <c:pt idx="464">
                  <c:v>44909.0</c:v>
                </c:pt>
                <c:pt idx="465">
                  <c:v>44910.0</c:v>
                </c:pt>
                <c:pt idx="466">
                  <c:v>44911.0</c:v>
                </c:pt>
                <c:pt idx="467">
                  <c:v>44912.0</c:v>
                </c:pt>
                <c:pt idx="468">
                  <c:v>44913.0</c:v>
                </c:pt>
                <c:pt idx="469">
                  <c:v>44914.0</c:v>
                </c:pt>
                <c:pt idx="470">
                  <c:v>44915.0</c:v>
                </c:pt>
                <c:pt idx="471">
                  <c:v>44916.0</c:v>
                </c:pt>
                <c:pt idx="472">
                  <c:v>44917.0</c:v>
                </c:pt>
                <c:pt idx="473">
                  <c:v>44918.0</c:v>
                </c:pt>
                <c:pt idx="474">
                  <c:v>44919.0</c:v>
                </c:pt>
                <c:pt idx="475">
                  <c:v>44920.0</c:v>
                </c:pt>
                <c:pt idx="476">
                  <c:v>44921.0</c:v>
                </c:pt>
                <c:pt idx="477">
                  <c:v>44922.0</c:v>
                </c:pt>
                <c:pt idx="478">
                  <c:v>44923.0</c:v>
                </c:pt>
                <c:pt idx="479">
                  <c:v>44924.0</c:v>
                </c:pt>
                <c:pt idx="480">
                  <c:v>44925.0</c:v>
                </c:pt>
                <c:pt idx="481">
                  <c:v>44926.0</c:v>
                </c:pt>
                <c:pt idx="482">
                  <c:v>44927.0</c:v>
                </c:pt>
                <c:pt idx="483">
                  <c:v>44928.0</c:v>
                </c:pt>
                <c:pt idx="484">
                  <c:v>44929.0</c:v>
                </c:pt>
                <c:pt idx="485">
                  <c:v>44930.0</c:v>
                </c:pt>
                <c:pt idx="486">
                  <c:v>44931.0</c:v>
                </c:pt>
                <c:pt idx="487">
                  <c:v>44932.0</c:v>
                </c:pt>
                <c:pt idx="488">
                  <c:v>44933.0</c:v>
                </c:pt>
                <c:pt idx="489">
                  <c:v>44934.0</c:v>
                </c:pt>
                <c:pt idx="490">
                  <c:v>44935.0</c:v>
                </c:pt>
                <c:pt idx="491">
                  <c:v>44936.0</c:v>
                </c:pt>
                <c:pt idx="492">
                  <c:v>44937.0</c:v>
                </c:pt>
                <c:pt idx="493">
                  <c:v>44938.0</c:v>
                </c:pt>
                <c:pt idx="494">
                  <c:v>44939.0</c:v>
                </c:pt>
                <c:pt idx="495">
                  <c:v>44940.0</c:v>
                </c:pt>
                <c:pt idx="496">
                  <c:v>44941.0</c:v>
                </c:pt>
                <c:pt idx="497">
                  <c:v>44942.0</c:v>
                </c:pt>
                <c:pt idx="498">
                  <c:v>44943.0</c:v>
                </c:pt>
                <c:pt idx="499">
                  <c:v>44944.0</c:v>
                </c:pt>
                <c:pt idx="500">
                  <c:v>44945.0</c:v>
                </c:pt>
                <c:pt idx="501">
                  <c:v>44946.0</c:v>
                </c:pt>
                <c:pt idx="502">
                  <c:v>44947.0</c:v>
                </c:pt>
                <c:pt idx="503">
                  <c:v>44948.0</c:v>
                </c:pt>
                <c:pt idx="504">
                  <c:v>44949.0</c:v>
                </c:pt>
                <c:pt idx="505">
                  <c:v>44950.0</c:v>
                </c:pt>
                <c:pt idx="506">
                  <c:v>44951.0</c:v>
                </c:pt>
                <c:pt idx="507">
                  <c:v>44952.0</c:v>
                </c:pt>
                <c:pt idx="508">
                  <c:v>44953.0</c:v>
                </c:pt>
                <c:pt idx="509">
                  <c:v>44954.0</c:v>
                </c:pt>
                <c:pt idx="510">
                  <c:v>44955.0</c:v>
                </c:pt>
                <c:pt idx="511">
                  <c:v>44956.0</c:v>
                </c:pt>
                <c:pt idx="512">
                  <c:v>44957.0</c:v>
                </c:pt>
                <c:pt idx="513">
                  <c:v>44958.0</c:v>
                </c:pt>
                <c:pt idx="514">
                  <c:v>44959.0</c:v>
                </c:pt>
                <c:pt idx="515">
                  <c:v>44960.0</c:v>
                </c:pt>
                <c:pt idx="516">
                  <c:v>44961.0</c:v>
                </c:pt>
                <c:pt idx="517">
                  <c:v>44962.0</c:v>
                </c:pt>
                <c:pt idx="518">
                  <c:v>44963.0</c:v>
                </c:pt>
                <c:pt idx="519">
                  <c:v>44964.0</c:v>
                </c:pt>
                <c:pt idx="520">
                  <c:v>44965.0</c:v>
                </c:pt>
                <c:pt idx="521">
                  <c:v>44966.0</c:v>
                </c:pt>
                <c:pt idx="522">
                  <c:v>44967.0</c:v>
                </c:pt>
                <c:pt idx="523">
                  <c:v>44968.0</c:v>
                </c:pt>
                <c:pt idx="524">
                  <c:v>44969.0</c:v>
                </c:pt>
                <c:pt idx="525">
                  <c:v>44970.0</c:v>
                </c:pt>
                <c:pt idx="526">
                  <c:v>44971.0</c:v>
                </c:pt>
                <c:pt idx="527">
                  <c:v>44972.0</c:v>
                </c:pt>
                <c:pt idx="528">
                  <c:v>44973.0</c:v>
                </c:pt>
                <c:pt idx="529">
                  <c:v>44974.0</c:v>
                </c:pt>
                <c:pt idx="530">
                  <c:v>44975.0</c:v>
                </c:pt>
                <c:pt idx="531">
                  <c:v>44976.0</c:v>
                </c:pt>
                <c:pt idx="532">
                  <c:v>44977.0</c:v>
                </c:pt>
                <c:pt idx="533">
                  <c:v>44978.0</c:v>
                </c:pt>
                <c:pt idx="534">
                  <c:v>44979.0</c:v>
                </c:pt>
                <c:pt idx="535">
                  <c:v>44980.0</c:v>
                </c:pt>
                <c:pt idx="536">
                  <c:v>44981.0</c:v>
                </c:pt>
                <c:pt idx="537">
                  <c:v>44982.0</c:v>
                </c:pt>
                <c:pt idx="538">
                  <c:v>44983.0</c:v>
                </c:pt>
                <c:pt idx="539">
                  <c:v>44984.0</c:v>
                </c:pt>
                <c:pt idx="540">
                  <c:v>44985.0</c:v>
                </c:pt>
                <c:pt idx="541">
                  <c:v>44986.0</c:v>
                </c:pt>
                <c:pt idx="542">
                  <c:v>44987.0</c:v>
                </c:pt>
                <c:pt idx="543">
                  <c:v>44988.0</c:v>
                </c:pt>
                <c:pt idx="544">
                  <c:v>44989.0</c:v>
                </c:pt>
                <c:pt idx="545">
                  <c:v>44990.0</c:v>
                </c:pt>
                <c:pt idx="546">
                  <c:v>44991.0</c:v>
                </c:pt>
                <c:pt idx="547">
                  <c:v>44992.0</c:v>
                </c:pt>
                <c:pt idx="548">
                  <c:v>44993.0</c:v>
                </c:pt>
                <c:pt idx="549">
                  <c:v>44994.0</c:v>
                </c:pt>
                <c:pt idx="550">
                  <c:v>44995.0</c:v>
                </c:pt>
                <c:pt idx="551">
                  <c:v>44996.0</c:v>
                </c:pt>
                <c:pt idx="552">
                  <c:v>44997.0</c:v>
                </c:pt>
                <c:pt idx="553">
                  <c:v>44998.0</c:v>
                </c:pt>
                <c:pt idx="554">
                  <c:v>44999.0</c:v>
                </c:pt>
                <c:pt idx="555">
                  <c:v>45000.0</c:v>
                </c:pt>
                <c:pt idx="556">
                  <c:v>45001.0</c:v>
                </c:pt>
                <c:pt idx="557">
                  <c:v>45002.0</c:v>
                </c:pt>
                <c:pt idx="558">
                  <c:v>45003.0</c:v>
                </c:pt>
                <c:pt idx="559">
                  <c:v>45004.0</c:v>
                </c:pt>
                <c:pt idx="560">
                  <c:v>45005.0</c:v>
                </c:pt>
                <c:pt idx="561">
                  <c:v>45006.0</c:v>
                </c:pt>
                <c:pt idx="562">
                  <c:v>45007.0</c:v>
                </c:pt>
                <c:pt idx="563">
                  <c:v>45008.0</c:v>
                </c:pt>
                <c:pt idx="564">
                  <c:v>45009.0</c:v>
                </c:pt>
                <c:pt idx="565">
                  <c:v>45010.0</c:v>
                </c:pt>
                <c:pt idx="566">
                  <c:v>45011.0</c:v>
                </c:pt>
                <c:pt idx="567">
                  <c:v>45012.0</c:v>
                </c:pt>
                <c:pt idx="568">
                  <c:v>45013.0</c:v>
                </c:pt>
                <c:pt idx="569">
                  <c:v>45014.0</c:v>
                </c:pt>
                <c:pt idx="570">
                  <c:v>45015.0</c:v>
                </c:pt>
                <c:pt idx="571">
                  <c:v>45016.0</c:v>
                </c:pt>
                <c:pt idx="572">
                  <c:v>45017.0</c:v>
                </c:pt>
                <c:pt idx="573">
                  <c:v>45018.0</c:v>
                </c:pt>
                <c:pt idx="574">
                  <c:v>45019.0</c:v>
                </c:pt>
                <c:pt idx="575">
                  <c:v>45020.0</c:v>
                </c:pt>
                <c:pt idx="576">
                  <c:v>45021.0</c:v>
                </c:pt>
                <c:pt idx="577">
                  <c:v>45022.0</c:v>
                </c:pt>
                <c:pt idx="578">
                  <c:v>45023.0</c:v>
                </c:pt>
                <c:pt idx="579">
                  <c:v>45024.0</c:v>
                </c:pt>
                <c:pt idx="580">
                  <c:v>45025.0</c:v>
                </c:pt>
                <c:pt idx="581">
                  <c:v>45026.0</c:v>
                </c:pt>
                <c:pt idx="582">
                  <c:v>45027.0</c:v>
                </c:pt>
                <c:pt idx="583">
                  <c:v>45028.0</c:v>
                </c:pt>
                <c:pt idx="584">
                  <c:v>45029.0</c:v>
                </c:pt>
                <c:pt idx="585">
                  <c:v>45030.0</c:v>
                </c:pt>
                <c:pt idx="586">
                  <c:v>45031.0</c:v>
                </c:pt>
                <c:pt idx="587">
                  <c:v>45032.0</c:v>
                </c:pt>
                <c:pt idx="588">
                  <c:v>45033.0</c:v>
                </c:pt>
                <c:pt idx="589">
                  <c:v>45034.0</c:v>
                </c:pt>
                <c:pt idx="590">
                  <c:v>45035.0</c:v>
                </c:pt>
                <c:pt idx="591">
                  <c:v>45036.0</c:v>
                </c:pt>
                <c:pt idx="592">
                  <c:v>45037.0</c:v>
                </c:pt>
                <c:pt idx="593">
                  <c:v>45038.0</c:v>
                </c:pt>
                <c:pt idx="594">
                  <c:v>45039.0</c:v>
                </c:pt>
                <c:pt idx="595">
                  <c:v>45040.0</c:v>
                </c:pt>
                <c:pt idx="596">
                  <c:v>45041.0</c:v>
                </c:pt>
                <c:pt idx="597">
                  <c:v>45042.0</c:v>
                </c:pt>
                <c:pt idx="598">
                  <c:v>45043.0</c:v>
                </c:pt>
                <c:pt idx="599">
                  <c:v>45044.0</c:v>
                </c:pt>
                <c:pt idx="600">
                  <c:v>45045.0</c:v>
                </c:pt>
                <c:pt idx="601">
                  <c:v>45046.0</c:v>
                </c:pt>
                <c:pt idx="602">
                  <c:v>45047.0</c:v>
                </c:pt>
                <c:pt idx="603">
                  <c:v>45048.0</c:v>
                </c:pt>
                <c:pt idx="604">
                  <c:v>45049.0</c:v>
                </c:pt>
                <c:pt idx="605">
                  <c:v>45050.0</c:v>
                </c:pt>
                <c:pt idx="606">
                  <c:v>45051.0</c:v>
                </c:pt>
                <c:pt idx="607">
                  <c:v>45052.0</c:v>
                </c:pt>
                <c:pt idx="608">
                  <c:v>45053.0</c:v>
                </c:pt>
                <c:pt idx="609">
                  <c:v>45054.0</c:v>
                </c:pt>
                <c:pt idx="610">
                  <c:v>45055.0</c:v>
                </c:pt>
                <c:pt idx="611">
                  <c:v>45056.0</c:v>
                </c:pt>
                <c:pt idx="612">
                  <c:v>45057.0</c:v>
                </c:pt>
                <c:pt idx="613">
                  <c:v>45058.0</c:v>
                </c:pt>
                <c:pt idx="614">
                  <c:v>45059.0</c:v>
                </c:pt>
                <c:pt idx="615">
                  <c:v>45060.0</c:v>
                </c:pt>
                <c:pt idx="616">
                  <c:v>45061.0</c:v>
                </c:pt>
                <c:pt idx="617">
                  <c:v>45062.0</c:v>
                </c:pt>
                <c:pt idx="618">
                  <c:v>45063.0</c:v>
                </c:pt>
                <c:pt idx="619">
                  <c:v>45064.0</c:v>
                </c:pt>
                <c:pt idx="620">
                  <c:v>45065.0</c:v>
                </c:pt>
                <c:pt idx="621">
                  <c:v>45066.0</c:v>
                </c:pt>
                <c:pt idx="622">
                  <c:v>45067.0</c:v>
                </c:pt>
                <c:pt idx="623">
                  <c:v>45068.0</c:v>
                </c:pt>
                <c:pt idx="624">
                  <c:v>45069.0</c:v>
                </c:pt>
                <c:pt idx="625">
                  <c:v>45070.0</c:v>
                </c:pt>
                <c:pt idx="626">
                  <c:v>45071.0</c:v>
                </c:pt>
                <c:pt idx="627">
                  <c:v>45072.0</c:v>
                </c:pt>
                <c:pt idx="628">
                  <c:v>45073.0</c:v>
                </c:pt>
                <c:pt idx="629">
                  <c:v>45074.0</c:v>
                </c:pt>
                <c:pt idx="630">
                  <c:v>45075.0</c:v>
                </c:pt>
                <c:pt idx="631">
                  <c:v>45076.0</c:v>
                </c:pt>
                <c:pt idx="632">
                  <c:v>45077.0</c:v>
                </c:pt>
                <c:pt idx="633">
                  <c:v>45078.0</c:v>
                </c:pt>
                <c:pt idx="634">
                  <c:v>45079.0</c:v>
                </c:pt>
                <c:pt idx="635">
                  <c:v>45080.0</c:v>
                </c:pt>
                <c:pt idx="636">
                  <c:v>45081.0</c:v>
                </c:pt>
                <c:pt idx="637">
                  <c:v>45082.0</c:v>
                </c:pt>
                <c:pt idx="638">
                  <c:v>45083.0</c:v>
                </c:pt>
                <c:pt idx="639">
                  <c:v>45084.0</c:v>
                </c:pt>
                <c:pt idx="640">
                  <c:v>45085.0</c:v>
                </c:pt>
                <c:pt idx="641">
                  <c:v>45086.0</c:v>
                </c:pt>
                <c:pt idx="642">
                  <c:v>45087.0</c:v>
                </c:pt>
                <c:pt idx="643">
                  <c:v>45088.0</c:v>
                </c:pt>
                <c:pt idx="644">
                  <c:v>45089.0</c:v>
                </c:pt>
                <c:pt idx="645">
                  <c:v>45090.0</c:v>
                </c:pt>
                <c:pt idx="646">
                  <c:v>45091.0</c:v>
                </c:pt>
                <c:pt idx="647">
                  <c:v>45092.0</c:v>
                </c:pt>
                <c:pt idx="648">
                  <c:v>45093.0</c:v>
                </c:pt>
                <c:pt idx="649">
                  <c:v>45094.0</c:v>
                </c:pt>
                <c:pt idx="650">
                  <c:v>45095.0</c:v>
                </c:pt>
                <c:pt idx="651">
                  <c:v>45096.0</c:v>
                </c:pt>
                <c:pt idx="652">
                  <c:v>45097.0</c:v>
                </c:pt>
                <c:pt idx="653">
                  <c:v>45098.0</c:v>
                </c:pt>
                <c:pt idx="654">
                  <c:v>45099.0</c:v>
                </c:pt>
                <c:pt idx="655">
                  <c:v>45100.0</c:v>
                </c:pt>
                <c:pt idx="656">
                  <c:v>45101.0</c:v>
                </c:pt>
                <c:pt idx="657">
                  <c:v>45102.0</c:v>
                </c:pt>
                <c:pt idx="658">
                  <c:v>45103.0</c:v>
                </c:pt>
                <c:pt idx="659">
                  <c:v>45104.0</c:v>
                </c:pt>
                <c:pt idx="660">
                  <c:v>45105.0</c:v>
                </c:pt>
                <c:pt idx="661">
                  <c:v>45106.0</c:v>
                </c:pt>
                <c:pt idx="662">
                  <c:v>45107.0</c:v>
                </c:pt>
                <c:pt idx="663">
                  <c:v>45108.0</c:v>
                </c:pt>
                <c:pt idx="664">
                  <c:v>45109.0</c:v>
                </c:pt>
                <c:pt idx="665">
                  <c:v>45110.0</c:v>
                </c:pt>
                <c:pt idx="666">
                  <c:v>45111.0</c:v>
                </c:pt>
                <c:pt idx="667">
                  <c:v>45112.0</c:v>
                </c:pt>
                <c:pt idx="668">
                  <c:v>45113.0</c:v>
                </c:pt>
                <c:pt idx="669">
                  <c:v>45114.0</c:v>
                </c:pt>
                <c:pt idx="670">
                  <c:v>45115.0</c:v>
                </c:pt>
                <c:pt idx="671">
                  <c:v>45116.0</c:v>
                </c:pt>
                <c:pt idx="672">
                  <c:v>45117.0</c:v>
                </c:pt>
                <c:pt idx="673">
                  <c:v>45118.0</c:v>
                </c:pt>
                <c:pt idx="674">
                  <c:v>45119.0</c:v>
                </c:pt>
                <c:pt idx="675">
                  <c:v>45120.0</c:v>
                </c:pt>
                <c:pt idx="676">
                  <c:v>45121.0</c:v>
                </c:pt>
                <c:pt idx="677">
                  <c:v>45122.0</c:v>
                </c:pt>
                <c:pt idx="678">
                  <c:v>45123.0</c:v>
                </c:pt>
                <c:pt idx="679">
                  <c:v>45124.0</c:v>
                </c:pt>
                <c:pt idx="680">
                  <c:v>45125.0</c:v>
                </c:pt>
                <c:pt idx="681">
                  <c:v>45126.0</c:v>
                </c:pt>
                <c:pt idx="682">
                  <c:v>45127.0</c:v>
                </c:pt>
                <c:pt idx="683">
                  <c:v>45128.0</c:v>
                </c:pt>
                <c:pt idx="684">
                  <c:v>45129.0</c:v>
                </c:pt>
                <c:pt idx="685">
                  <c:v>45130.0</c:v>
                </c:pt>
                <c:pt idx="686">
                  <c:v>45131.0</c:v>
                </c:pt>
                <c:pt idx="687">
                  <c:v>45132.0</c:v>
                </c:pt>
                <c:pt idx="688">
                  <c:v>45133.0</c:v>
                </c:pt>
                <c:pt idx="689">
                  <c:v>45134.0</c:v>
                </c:pt>
                <c:pt idx="690">
                  <c:v>45135.0</c:v>
                </c:pt>
                <c:pt idx="691">
                  <c:v>45136.0</c:v>
                </c:pt>
                <c:pt idx="692">
                  <c:v>45137.0</c:v>
                </c:pt>
                <c:pt idx="693">
                  <c:v>45138.0</c:v>
                </c:pt>
                <c:pt idx="694">
                  <c:v>45139.0</c:v>
                </c:pt>
                <c:pt idx="695">
                  <c:v>45140.0</c:v>
                </c:pt>
                <c:pt idx="696">
                  <c:v>45141.0</c:v>
                </c:pt>
                <c:pt idx="697">
                  <c:v>45142.0</c:v>
                </c:pt>
                <c:pt idx="698">
                  <c:v>45143.0</c:v>
                </c:pt>
                <c:pt idx="699">
                  <c:v>45144.0</c:v>
                </c:pt>
                <c:pt idx="700">
                  <c:v>45145.0</c:v>
                </c:pt>
                <c:pt idx="701">
                  <c:v>45146.0</c:v>
                </c:pt>
                <c:pt idx="702">
                  <c:v>45147.0</c:v>
                </c:pt>
                <c:pt idx="703">
                  <c:v>45148.0</c:v>
                </c:pt>
                <c:pt idx="704">
                  <c:v>45149.0</c:v>
                </c:pt>
                <c:pt idx="705">
                  <c:v>45150.0</c:v>
                </c:pt>
                <c:pt idx="706">
                  <c:v>45151.0</c:v>
                </c:pt>
                <c:pt idx="707">
                  <c:v>45152.0</c:v>
                </c:pt>
                <c:pt idx="708">
                  <c:v>45153.0</c:v>
                </c:pt>
                <c:pt idx="709">
                  <c:v>45154.0</c:v>
                </c:pt>
                <c:pt idx="710">
                  <c:v>45155.0</c:v>
                </c:pt>
                <c:pt idx="711">
                  <c:v>45156.0</c:v>
                </c:pt>
                <c:pt idx="712">
                  <c:v>45157.0</c:v>
                </c:pt>
                <c:pt idx="713">
                  <c:v>45158.0</c:v>
                </c:pt>
                <c:pt idx="714">
                  <c:v>45159.0</c:v>
                </c:pt>
                <c:pt idx="715">
                  <c:v>45160.0</c:v>
                </c:pt>
                <c:pt idx="716">
                  <c:v>45161.0</c:v>
                </c:pt>
                <c:pt idx="717">
                  <c:v>45162.0</c:v>
                </c:pt>
                <c:pt idx="718">
                  <c:v>45163.0</c:v>
                </c:pt>
                <c:pt idx="719">
                  <c:v>45164.0</c:v>
                </c:pt>
                <c:pt idx="720">
                  <c:v>45165.0</c:v>
                </c:pt>
                <c:pt idx="721">
                  <c:v>45166.0</c:v>
                </c:pt>
                <c:pt idx="722">
                  <c:v>45167.0</c:v>
                </c:pt>
                <c:pt idx="723">
                  <c:v>45168.0</c:v>
                </c:pt>
                <c:pt idx="724">
                  <c:v>45169.0</c:v>
                </c:pt>
                <c:pt idx="725">
                  <c:v>45170.0</c:v>
                </c:pt>
                <c:pt idx="726">
                  <c:v>45171.0</c:v>
                </c:pt>
                <c:pt idx="727">
                  <c:v>45172.0</c:v>
                </c:pt>
                <c:pt idx="728">
                  <c:v>45173.0</c:v>
                </c:pt>
                <c:pt idx="729">
                  <c:v>45174.0</c:v>
                </c:pt>
                <c:pt idx="730">
                  <c:v>45175.0</c:v>
                </c:pt>
                <c:pt idx="731">
                  <c:v>45176.0</c:v>
                </c:pt>
                <c:pt idx="732">
                  <c:v>45177.0</c:v>
                </c:pt>
                <c:pt idx="733">
                  <c:v>45178.0</c:v>
                </c:pt>
                <c:pt idx="734">
                  <c:v>45179.0</c:v>
                </c:pt>
                <c:pt idx="735">
                  <c:v>45180.0</c:v>
                </c:pt>
                <c:pt idx="736">
                  <c:v>45181.0</c:v>
                </c:pt>
                <c:pt idx="737">
                  <c:v>45182.0</c:v>
                </c:pt>
                <c:pt idx="738">
                  <c:v>45183.0</c:v>
                </c:pt>
                <c:pt idx="739">
                  <c:v>45184.0</c:v>
                </c:pt>
                <c:pt idx="740">
                  <c:v>45185.0</c:v>
                </c:pt>
                <c:pt idx="741">
                  <c:v>45186.0</c:v>
                </c:pt>
                <c:pt idx="742">
                  <c:v>45187.0</c:v>
                </c:pt>
                <c:pt idx="743">
                  <c:v>45188.0</c:v>
                </c:pt>
                <c:pt idx="744">
                  <c:v>45189.0</c:v>
                </c:pt>
                <c:pt idx="745">
                  <c:v>45190.0</c:v>
                </c:pt>
                <c:pt idx="746">
                  <c:v>45191.0</c:v>
                </c:pt>
                <c:pt idx="747">
                  <c:v>45192.0</c:v>
                </c:pt>
                <c:pt idx="748">
                  <c:v>45193.0</c:v>
                </c:pt>
                <c:pt idx="749">
                  <c:v>45194.0</c:v>
                </c:pt>
                <c:pt idx="750">
                  <c:v>45195.0</c:v>
                </c:pt>
                <c:pt idx="751">
                  <c:v>45196.0</c:v>
                </c:pt>
                <c:pt idx="752">
                  <c:v>45197.0</c:v>
                </c:pt>
                <c:pt idx="753">
                  <c:v>45198.0</c:v>
                </c:pt>
                <c:pt idx="754">
                  <c:v>45199.0</c:v>
                </c:pt>
                <c:pt idx="755">
                  <c:v>45200.0</c:v>
                </c:pt>
                <c:pt idx="756">
                  <c:v>45201.0</c:v>
                </c:pt>
                <c:pt idx="757">
                  <c:v>45202.0</c:v>
                </c:pt>
                <c:pt idx="758">
                  <c:v>45203.0</c:v>
                </c:pt>
                <c:pt idx="759">
                  <c:v>45204.0</c:v>
                </c:pt>
                <c:pt idx="760">
                  <c:v>45205.0</c:v>
                </c:pt>
                <c:pt idx="761">
                  <c:v>45206.0</c:v>
                </c:pt>
                <c:pt idx="762">
                  <c:v>45207.0</c:v>
                </c:pt>
                <c:pt idx="763">
                  <c:v>45208.0</c:v>
                </c:pt>
                <c:pt idx="764">
                  <c:v>45209.0</c:v>
                </c:pt>
                <c:pt idx="765">
                  <c:v>45210.0</c:v>
                </c:pt>
                <c:pt idx="766">
                  <c:v>45211.0</c:v>
                </c:pt>
                <c:pt idx="767">
                  <c:v>45212.0</c:v>
                </c:pt>
                <c:pt idx="768">
                  <c:v>45213.0</c:v>
                </c:pt>
                <c:pt idx="769">
                  <c:v>45214.0</c:v>
                </c:pt>
                <c:pt idx="770">
                  <c:v>45215.0</c:v>
                </c:pt>
                <c:pt idx="771">
                  <c:v>45216.0</c:v>
                </c:pt>
                <c:pt idx="772">
                  <c:v>45217.0</c:v>
                </c:pt>
                <c:pt idx="773">
                  <c:v>45218.0</c:v>
                </c:pt>
                <c:pt idx="774">
                  <c:v>45219.0</c:v>
                </c:pt>
                <c:pt idx="775">
                  <c:v>45220.0</c:v>
                </c:pt>
                <c:pt idx="776">
                  <c:v>45221.0</c:v>
                </c:pt>
                <c:pt idx="777">
                  <c:v>45222.0</c:v>
                </c:pt>
                <c:pt idx="778">
                  <c:v>45223.0</c:v>
                </c:pt>
                <c:pt idx="779">
                  <c:v>45224.0</c:v>
                </c:pt>
                <c:pt idx="780">
                  <c:v>45225.0</c:v>
                </c:pt>
                <c:pt idx="781">
                  <c:v>45226.0</c:v>
                </c:pt>
                <c:pt idx="782">
                  <c:v>45227.0</c:v>
                </c:pt>
                <c:pt idx="783">
                  <c:v>45228.0</c:v>
                </c:pt>
                <c:pt idx="784">
                  <c:v>45229.0</c:v>
                </c:pt>
                <c:pt idx="785">
                  <c:v>45230.0</c:v>
                </c:pt>
                <c:pt idx="786">
                  <c:v>45231.0</c:v>
                </c:pt>
                <c:pt idx="787">
                  <c:v>45232.0</c:v>
                </c:pt>
                <c:pt idx="788">
                  <c:v>45233.0</c:v>
                </c:pt>
                <c:pt idx="789">
                  <c:v>45234.0</c:v>
                </c:pt>
                <c:pt idx="790">
                  <c:v>45235.0</c:v>
                </c:pt>
                <c:pt idx="791">
                  <c:v>45236.0</c:v>
                </c:pt>
                <c:pt idx="792">
                  <c:v>45237.0</c:v>
                </c:pt>
                <c:pt idx="793">
                  <c:v>45238.0</c:v>
                </c:pt>
                <c:pt idx="794">
                  <c:v>45239.0</c:v>
                </c:pt>
                <c:pt idx="795">
                  <c:v>45240.0</c:v>
                </c:pt>
                <c:pt idx="796">
                  <c:v>45241.0</c:v>
                </c:pt>
                <c:pt idx="797">
                  <c:v>45242.0</c:v>
                </c:pt>
                <c:pt idx="798">
                  <c:v>45243.0</c:v>
                </c:pt>
                <c:pt idx="799">
                  <c:v>45244.0</c:v>
                </c:pt>
                <c:pt idx="800">
                  <c:v>45245.0</c:v>
                </c:pt>
                <c:pt idx="801">
                  <c:v>45246.0</c:v>
                </c:pt>
                <c:pt idx="802">
                  <c:v>45247.0</c:v>
                </c:pt>
                <c:pt idx="803">
                  <c:v>45248.0</c:v>
                </c:pt>
                <c:pt idx="804">
                  <c:v>45249.0</c:v>
                </c:pt>
                <c:pt idx="805">
                  <c:v>45250.0</c:v>
                </c:pt>
                <c:pt idx="806">
                  <c:v>45251.0</c:v>
                </c:pt>
                <c:pt idx="807">
                  <c:v>45252.0</c:v>
                </c:pt>
                <c:pt idx="808">
                  <c:v>45253.0</c:v>
                </c:pt>
                <c:pt idx="809">
                  <c:v>45254.0</c:v>
                </c:pt>
                <c:pt idx="810">
                  <c:v>45255.0</c:v>
                </c:pt>
                <c:pt idx="811">
                  <c:v>45256.0</c:v>
                </c:pt>
                <c:pt idx="812">
                  <c:v>45257.0</c:v>
                </c:pt>
                <c:pt idx="813">
                  <c:v>45258.0</c:v>
                </c:pt>
                <c:pt idx="814">
                  <c:v>45259.0</c:v>
                </c:pt>
                <c:pt idx="815">
                  <c:v>45260.0</c:v>
                </c:pt>
                <c:pt idx="816">
                  <c:v>45261.0</c:v>
                </c:pt>
                <c:pt idx="817">
                  <c:v>45262.0</c:v>
                </c:pt>
                <c:pt idx="818">
                  <c:v>45263.0</c:v>
                </c:pt>
                <c:pt idx="819">
                  <c:v>45264.0</c:v>
                </c:pt>
                <c:pt idx="820">
                  <c:v>45265.0</c:v>
                </c:pt>
                <c:pt idx="821">
                  <c:v>45266.0</c:v>
                </c:pt>
                <c:pt idx="822">
                  <c:v>45267.0</c:v>
                </c:pt>
                <c:pt idx="823">
                  <c:v>45268.0</c:v>
                </c:pt>
                <c:pt idx="824">
                  <c:v>45269.0</c:v>
                </c:pt>
                <c:pt idx="825">
                  <c:v>45270.0</c:v>
                </c:pt>
                <c:pt idx="826">
                  <c:v>45271.0</c:v>
                </c:pt>
                <c:pt idx="827">
                  <c:v>45272.0</c:v>
                </c:pt>
                <c:pt idx="828">
                  <c:v>45273.0</c:v>
                </c:pt>
                <c:pt idx="829">
                  <c:v>45274.0</c:v>
                </c:pt>
                <c:pt idx="830">
                  <c:v>45275.0</c:v>
                </c:pt>
                <c:pt idx="831">
                  <c:v>45276.0</c:v>
                </c:pt>
                <c:pt idx="832">
                  <c:v>45277.0</c:v>
                </c:pt>
                <c:pt idx="833">
                  <c:v>45278.0</c:v>
                </c:pt>
                <c:pt idx="834">
                  <c:v>45279.0</c:v>
                </c:pt>
                <c:pt idx="835">
                  <c:v>45280.0</c:v>
                </c:pt>
                <c:pt idx="836">
                  <c:v>45281.0</c:v>
                </c:pt>
                <c:pt idx="837">
                  <c:v>45282.0</c:v>
                </c:pt>
                <c:pt idx="838">
                  <c:v>45283.0</c:v>
                </c:pt>
                <c:pt idx="839">
                  <c:v>45284.0</c:v>
                </c:pt>
                <c:pt idx="840">
                  <c:v>45285.0</c:v>
                </c:pt>
                <c:pt idx="841">
                  <c:v>45286.0</c:v>
                </c:pt>
                <c:pt idx="842">
                  <c:v>45287.0</c:v>
                </c:pt>
                <c:pt idx="843">
                  <c:v>45288.0</c:v>
                </c:pt>
                <c:pt idx="844">
                  <c:v>45289.0</c:v>
                </c:pt>
                <c:pt idx="845">
                  <c:v>45290.0</c:v>
                </c:pt>
                <c:pt idx="846">
                  <c:v>45291.0</c:v>
                </c:pt>
                <c:pt idx="847">
                  <c:v>45292.0</c:v>
                </c:pt>
                <c:pt idx="848">
                  <c:v>45293.0</c:v>
                </c:pt>
                <c:pt idx="849">
                  <c:v>45294.0</c:v>
                </c:pt>
                <c:pt idx="850">
                  <c:v>45295.0</c:v>
                </c:pt>
                <c:pt idx="851">
                  <c:v>45296.0</c:v>
                </c:pt>
                <c:pt idx="852">
                  <c:v>45297.0</c:v>
                </c:pt>
                <c:pt idx="853">
                  <c:v>45298.0</c:v>
                </c:pt>
                <c:pt idx="854">
                  <c:v>45299.0</c:v>
                </c:pt>
                <c:pt idx="855">
                  <c:v>45300.0</c:v>
                </c:pt>
                <c:pt idx="856">
                  <c:v>45301.0</c:v>
                </c:pt>
                <c:pt idx="857">
                  <c:v>45302.0</c:v>
                </c:pt>
                <c:pt idx="858">
                  <c:v>45303.0</c:v>
                </c:pt>
                <c:pt idx="859">
                  <c:v>45304.0</c:v>
                </c:pt>
                <c:pt idx="860">
                  <c:v>45305.0</c:v>
                </c:pt>
                <c:pt idx="861">
                  <c:v>45306.0</c:v>
                </c:pt>
                <c:pt idx="862">
                  <c:v>45307.0</c:v>
                </c:pt>
                <c:pt idx="863">
                  <c:v>45308.0</c:v>
                </c:pt>
                <c:pt idx="864">
                  <c:v>45309.0</c:v>
                </c:pt>
                <c:pt idx="865">
                  <c:v>45310.0</c:v>
                </c:pt>
                <c:pt idx="866">
                  <c:v>45311.0</c:v>
                </c:pt>
                <c:pt idx="867">
                  <c:v>45312.0</c:v>
                </c:pt>
                <c:pt idx="868">
                  <c:v>45313.0</c:v>
                </c:pt>
                <c:pt idx="869">
                  <c:v>45314.0</c:v>
                </c:pt>
                <c:pt idx="870">
                  <c:v>45315.0</c:v>
                </c:pt>
                <c:pt idx="871">
                  <c:v>45316.0</c:v>
                </c:pt>
                <c:pt idx="872">
                  <c:v>45317.0</c:v>
                </c:pt>
                <c:pt idx="873">
                  <c:v>45318.0</c:v>
                </c:pt>
                <c:pt idx="874">
                  <c:v>45319.0</c:v>
                </c:pt>
                <c:pt idx="875">
                  <c:v>45320.0</c:v>
                </c:pt>
                <c:pt idx="876">
                  <c:v>45321.0</c:v>
                </c:pt>
                <c:pt idx="877">
                  <c:v>45322.0</c:v>
                </c:pt>
                <c:pt idx="878">
                  <c:v>45323.0</c:v>
                </c:pt>
                <c:pt idx="879">
                  <c:v>45324.0</c:v>
                </c:pt>
                <c:pt idx="880">
                  <c:v>45325.0</c:v>
                </c:pt>
                <c:pt idx="881">
                  <c:v>45326.0</c:v>
                </c:pt>
                <c:pt idx="882">
                  <c:v>45327.0</c:v>
                </c:pt>
                <c:pt idx="883">
                  <c:v>45328.0</c:v>
                </c:pt>
                <c:pt idx="884">
                  <c:v>45329.0</c:v>
                </c:pt>
                <c:pt idx="885">
                  <c:v>45330.0</c:v>
                </c:pt>
                <c:pt idx="886">
                  <c:v>45331.0</c:v>
                </c:pt>
                <c:pt idx="887">
                  <c:v>45332.0</c:v>
                </c:pt>
                <c:pt idx="888">
                  <c:v>45333.0</c:v>
                </c:pt>
                <c:pt idx="889">
                  <c:v>45334.0</c:v>
                </c:pt>
                <c:pt idx="890">
                  <c:v>45335.0</c:v>
                </c:pt>
                <c:pt idx="891">
                  <c:v>45336.0</c:v>
                </c:pt>
                <c:pt idx="892">
                  <c:v>45337.0</c:v>
                </c:pt>
                <c:pt idx="893">
                  <c:v>45338.0</c:v>
                </c:pt>
                <c:pt idx="894">
                  <c:v>45339.0</c:v>
                </c:pt>
                <c:pt idx="895">
                  <c:v>45340.0</c:v>
                </c:pt>
                <c:pt idx="896">
                  <c:v>45341.0</c:v>
                </c:pt>
                <c:pt idx="897">
                  <c:v>45342.0</c:v>
                </c:pt>
                <c:pt idx="898">
                  <c:v>45343.0</c:v>
                </c:pt>
                <c:pt idx="899">
                  <c:v>45344.0</c:v>
                </c:pt>
                <c:pt idx="900">
                  <c:v>45345.0</c:v>
                </c:pt>
                <c:pt idx="901">
                  <c:v>45346.0</c:v>
                </c:pt>
                <c:pt idx="902">
                  <c:v>45347.0</c:v>
                </c:pt>
                <c:pt idx="903">
                  <c:v>45348.0</c:v>
                </c:pt>
                <c:pt idx="904">
                  <c:v>45349.0</c:v>
                </c:pt>
                <c:pt idx="905">
                  <c:v>45350.0</c:v>
                </c:pt>
                <c:pt idx="906">
                  <c:v>45351.0</c:v>
                </c:pt>
                <c:pt idx="907">
                  <c:v>45352.0</c:v>
                </c:pt>
                <c:pt idx="908">
                  <c:v>45353.0</c:v>
                </c:pt>
                <c:pt idx="909">
                  <c:v>45354.0</c:v>
                </c:pt>
                <c:pt idx="910">
                  <c:v>45355.0</c:v>
                </c:pt>
                <c:pt idx="911">
                  <c:v>45356.0</c:v>
                </c:pt>
                <c:pt idx="912">
                  <c:v>45357.0</c:v>
                </c:pt>
                <c:pt idx="913">
                  <c:v>45358.0</c:v>
                </c:pt>
                <c:pt idx="914">
                  <c:v>45359.0</c:v>
                </c:pt>
                <c:pt idx="915">
                  <c:v>45360.0</c:v>
                </c:pt>
                <c:pt idx="916">
                  <c:v>45361.0</c:v>
                </c:pt>
                <c:pt idx="917">
                  <c:v>45362.0</c:v>
                </c:pt>
                <c:pt idx="918">
                  <c:v>45363.0</c:v>
                </c:pt>
                <c:pt idx="919">
                  <c:v>45364.0</c:v>
                </c:pt>
                <c:pt idx="920">
                  <c:v>45365.0</c:v>
                </c:pt>
                <c:pt idx="921">
                  <c:v>45366.0</c:v>
                </c:pt>
                <c:pt idx="922">
                  <c:v>45367.0</c:v>
                </c:pt>
                <c:pt idx="923">
                  <c:v>45368.0</c:v>
                </c:pt>
                <c:pt idx="924">
                  <c:v>45369.0</c:v>
                </c:pt>
                <c:pt idx="925">
                  <c:v>45370.0</c:v>
                </c:pt>
                <c:pt idx="926">
                  <c:v>45371.0</c:v>
                </c:pt>
                <c:pt idx="927">
                  <c:v>45372.0</c:v>
                </c:pt>
                <c:pt idx="928">
                  <c:v>45373.0</c:v>
                </c:pt>
                <c:pt idx="929">
                  <c:v>45374.0</c:v>
                </c:pt>
                <c:pt idx="930">
                  <c:v>45375.0</c:v>
                </c:pt>
                <c:pt idx="931">
                  <c:v>45376.0</c:v>
                </c:pt>
                <c:pt idx="932">
                  <c:v>45377.0</c:v>
                </c:pt>
                <c:pt idx="933">
                  <c:v>45378.0</c:v>
                </c:pt>
                <c:pt idx="934">
                  <c:v>45379.0</c:v>
                </c:pt>
                <c:pt idx="935">
                  <c:v>45380.0</c:v>
                </c:pt>
                <c:pt idx="936">
                  <c:v>45381.0</c:v>
                </c:pt>
                <c:pt idx="937">
                  <c:v>45382.0</c:v>
                </c:pt>
                <c:pt idx="938">
                  <c:v>45383.0</c:v>
                </c:pt>
                <c:pt idx="939">
                  <c:v>45384.0</c:v>
                </c:pt>
                <c:pt idx="940">
                  <c:v>45385.0</c:v>
                </c:pt>
                <c:pt idx="941">
                  <c:v>45386.0</c:v>
                </c:pt>
                <c:pt idx="942">
                  <c:v>45387.0</c:v>
                </c:pt>
                <c:pt idx="943">
                  <c:v>45388.0</c:v>
                </c:pt>
                <c:pt idx="944">
                  <c:v>45389.0</c:v>
                </c:pt>
                <c:pt idx="945">
                  <c:v>45390.0</c:v>
                </c:pt>
                <c:pt idx="946">
                  <c:v>45391.0</c:v>
                </c:pt>
                <c:pt idx="947">
                  <c:v>45392.0</c:v>
                </c:pt>
                <c:pt idx="948">
                  <c:v>45393.0</c:v>
                </c:pt>
                <c:pt idx="949">
                  <c:v>45394.0</c:v>
                </c:pt>
                <c:pt idx="950">
                  <c:v>45395.0</c:v>
                </c:pt>
                <c:pt idx="951">
                  <c:v>45396.0</c:v>
                </c:pt>
                <c:pt idx="952">
                  <c:v>45397.0</c:v>
                </c:pt>
                <c:pt idx="953">
                  <c:v>45398.0</c:v>
                </c:pt>
                <c:pt idx="954">
                  <c:v>45399.0</c:v>
                </c:pt>
                <c:pt idx="955">
                  <c:v>45400.0</c:v>
                </c:pt>
                <c:pt idx="956">
                  <c:v>45401.0</c:v>
                </c:pt>
                <c:pt idx="957">
                  <c:v>45402.0</c:v>
                </c:pt>
                <c:pt idx="958">
                  <c:v>45403.0</c:v>
                </c:pt>
                <c:pt idx="959">
                  <c:v>45404.0</c:v>
                </c:pt>
                <c:pt idx="960">
                  <c:v>45405.0</c:v>
                </c:pt>
                <c:pt idx="961">
                  <c:v>45406.0</c:v>
                </c:pt>
                <c:pt idx="962">
                  <c:v>45407.0</c:v>
                </c:pt>
                <c:pt idx="963">
                  <c:v>45408.0</c:v>
                </c:pt>
                <c:pt idx="964">
                  <c:v>45409.0</c:v>
                </c:pt>
                <c:pt idx="965">
                  <c:v>45410.0</c:v>
                </c:pt>
                <c:pt idx="966">
                  <c:v>45411.0</c:v>
                </c:pt>
                <c:pt idx="967">
                  <c:v>45412.0</c:v>
                </c:pt>
                <c:pt idx="968">
                  <c:v>45413.0</c:v>
                </c:pt>
                <c:pt idx="969">
                  <c:v>45414.0</c:v>
                </c:pt>
                <c:pt idx="970">
                  <c:v>45415.0</c:v>
                </c:pt>
                <c:pt idx="971">
                  <c:v>45416.0</c:v>
                </c:pt>
                <c:pt idx="972">
                  <c:v>45417.0</c:v>
                </c:pt>
                <c:pt idx="973">
                  <c:v>45418.0</c:v>
                </c:pt>
                <c:pt idx="974">
                  <c:v>45419.0</c:v>
                </c:pt>
                <c:pt idx="975">
                  <c:v>45420.0</c:v>
                </c:pt>
                <c:pt idx="976">
                  <c:v>45421.0</c:v>
                </c:pt>
                <c:pt idx="977">
                  <c:v>45422.0</c:v>
                </c:pt>
                <c:pt idx="978">
                  <c:v>45423.0</c:v>
                </c:pt>
                <c:pt idx="979">
                  <c:v>45424.0</c:v>
                </c:pt>
                <c:pt idx="980">
                  <c:v>45425.0</c:v>
                </c:pt>
                <c:pt idx="981">
                  <c:v>45426.0</c:v>
                </c:pt>
                <c:pt idx="982">
                  <c:v>45427.0</c:v>
                </c:pt>
                <c:pt idx="983">
                  <c:v>45428.0</c:v>
                </c:pt>
                <c:pt idx="984">
                  <c:v>45429.0</c:v>
                </c:pt>
                <c:pt idx="985">
                  <c:v>45430.0</c:v>
                </c:pt>
                <c:pt idx="986">
                  <c:v>45431.0</c:v>
                </c:pt>
                <c:pt idx="987">
                  <c:v>45432.0</c:v>
                </c:pt>
                <c:pt idx="988">
                  <c:v>45433.0</c:v>
                </c:pt>
                <c:pt idx="989">
                  <c:v>45434.0</c:v>
                </c:pt>
                <c:pt idx="990">
                  <c:v>45435.0</c:v>
                </c:pt>
                <c:pt idx="991">
                  <c:v>45436.0</c:v>
                </c:pt>
                <c:pt idx="992">
                  <c:v>45437.0</c:v>
                </c:pt>
                <c:pt idx="993">
                  <c:v>45438.0</c:v>
                </c:pt>
                <c:pt idx="994">
                  <c:v>45439.0</c:v>
                </c:pt>
                <c:pt idx="995">
                  <c:v>45440.0</c:v>
                </c:pt>
                <c:pt idx="996">
                  <c:v>45441.0</c:v>
                </c:pt>
                <c:pt idx="997">
                  <c:v>45442.0</c:v>
                </c:pt>
                <c:pt idx="998">
                  <c:v>45443.0</c:v>
                </c:pt>
                <c:pt idx="999">
                  <c:v>45444.0</c:v>
                </c:pt>
                <c:pt idx="1000">
                  <c:v>45445.0</c:v>
                </c:pt>
                <c:pt idx="1001">
                  <c:v>45446.0</c:v>
                </c:pt>
                <c:pt idx="1002">
                  <c:v>45447.0</c:v>
                </c:pt>
                <c:pt idx="1003">
                  <c:v>45448.0</c:v>
                </c:pt>
                <c:pt idx="1004">
                  <c:v>45449.0</c:v>
                </c:pt>
                <c:pt idx="1005">
                  <c:v>45450.0</c:v>
                </c:pt>
                <c:pt idx="1006">
                  <c:v>45451.0</c:v>
                </c:pt>
                <c:pt idx="1007">
                  <c:v>45452.0</c:v>
                </c:pt>
                <c:pt idx="1008">
                  <c:v>45453.0</c:v>
                </c:pt>
                <c:pt idx="1009">
                  <c:v>45454.0</c:v>
                </c:pt>
                <c:pt idx="1010">
                  <c:v>45455.0</c:v>
                </c:pt>
                <c:pt idx="1011">
                  <c:v>45456.0</c:v>
                </c:pt>
                <c:pt idx="1012">
                  <c:v>45457.0</c:v>
                </c:pt>
                <c:pt idx="1013">
                  <c:v>45458.0</c:v>
                </c:pt>
                <c:pt idx="1014">
                  <c:v>45459.0</c:v>
                </c:pt>
                <c:pt idx="1015">
                  <c:v>45460.0</c:v>
                </c:pt>
                <c:pt idx="1016">
                  <c:v>45461.0</c:v>
                </c:pt>
                <c:pt idx="1017">
                  <c:v>45462.0</c:v>
                </c:pt>
                <c:pt idx="1018">
                  <c:v>45463.0</c:v>
                </c:pt>
                <c:pt idx="1019">
                  <c:v>45464.0</c:v>
                </c:pt>
                <c:pt idx="1020">
                  <c:v>45465.0</c:v>
                </c:pt>
                <c:pt idx="1021">
                  <c:v>45466.0</c:v>
                </c:pt>
                <c:pt idx="1022">
                  <c:v>45467.0</c:v>
                </c:pt>
                <c:pt idx="1023">
                  <c:v>45468.0</c:v>
                </c:pt>
                <c:pt idx="1024">
                  <c:v>45469.0</c:v>
                </c:pt>
                <c:pt idx="1025">
                  <c:v>45470.0</c:v>
                </c:pt>
                <c:pt idx="1026">
                  <c:v>45471.0</c:v>
                </c:pt>
                <c:pt idx="1027">
                  <c:v>45472.0</c:v>
                </c:pt>
                <c:pt idx="1028">
                  <c:v>45473.0</c:v>
                </c:pt>
                <c:pt idx="1029">
                  <c:v>45474.0</c:v>
                </c:pt>
                <c:pt idx="1030">
                  <c:v>45475.0</c:v>
                </c:pt>
                <c:pt idx="1031">
                  <c:v>45476.0</c:v>
                </c:pt>
                <c:pt idx="1032">
                  <c:v>45477.0</c:v>
                </c:pt>
                <c:pt idx="1033">
                  <c:v>45478.0</c:v>
                </c:pt>
                <c:pt idx="1034">
                  <c:v>45479.0</c:v>
                </c:pt>
                <c:pt idx="1035">
                  <c:v>45480.0</c:v>
                </c:pt>
                <c:pt idx="1036">
                  <c:v>45481.0</c:v>
                </c:pt>
                <c:pt idx="1037">
                  <c:v>45482.0</c:v>
                </c:pt>
                <c:pt idx="1038">
                  <c:v>45483.0</c:v>
                </c:pt>
                <c:pt idx="1039">
                  <c:v>45484.0</c:v>
                </c:pt>
                <c:pt idx="1040">
                  <c:v>45485.0</c:v>
                </c:pt>
                <c:pt idx="1041">
                  <c:v>45486.0</c:v>
                </c:pt>
                <c:pt idx="1042">
                  <c:v>45487.0</c:v>
                </c:pt>
                <c:pt idx="1043">
                  <c:v>45488.0</c:v>
                </c:pt>
                <c:pt idx="1044">
                  <c:v>45489.0</c:v>
                </c:pt>
                <c:pt idx="1045">
                  <c:v>45490.0</c:v>
                </c:pt>
                <c:pt idx="1046">
                  <c:v>45491.0</c:v>
                </c:pt>
                <c:pt idx="1047">
                  <c:v>45492.0</c:v>
                </c:pt>
                <c:pt idx="1048">
                  <c:v>45493.0</c:v>
                </c:pt>
                <c:pt idx="1049">
                  <c:v>45494.0</c:v>
                </c:pt>
                <c:pt idx="1050">
                  <c:v>45495.0</c:v>
                </c:pt>
                <c:pt idx="1051">
                  <c:v>45496.0</c:v>
                </c:pt>
                <c:pt idx="1052">
                  <c:v>45497.0</c:v>
                </c:pt>
                <c:pt idx="1053">
                  <c:v>45498.0</c:v>
                </c:pt>
                <c:pt idx="1054">
                  <c:v>45499.0</c:v>
                </c:pt>
                <c:pt idx="1055">
                  <c:v>45500.0</c:v>
                </c:pt>
                <c:pt idx="1056">
                  <c:v>45501.0</c:v>
                </c:pt>
                <c:pt idx="1057">
                  <c:v>45502.0</c:v>
                </c:pt>
                <c:pt idx="1058">
                  <c:v>45503.0</c:v>
                </c:pt>
                <c:pt idx="1059">
                  <c:v>45504.0</c:v>
                </c:pt>
                <c:pt idx="1060">
                  <c:v>45505.0</c:v>
                </c:pt>
                <c:pt idx="1061">
                  <c:v>45506.0</c:v>
                </c:pt>
                <c:pt idx="1062">
                  <c:v>45507.0</c:v>
                </c:pt>
                <c:pt idx="1063">
                  <c:v>45508.0</c:v>
                </c:pt>
                <c:pt idx="1064">
                  <c:v>45509.0</c:v>
                </c:pt>
                <c:pt idx="1065">
                  <c:v>45510.0</c:v>
                </c:pt>
                <c:pt idx="1066">
                  <c:v>45511.0</c:v>
                </c:pt>
                <c:pt idx="1067">
                  <c:v>45512.0</c:v>
                </c:pt>
                <c:pt idx="1068">
                  <c:v>45513.0</c:v>
                </c:pt>
                <c:pt idx="1069">
                  <c:v>45514.0</c:v>
                </c:pt>
                <c:pt idx="1070">
                  <c:v>45515.0</c:v>
                </c:pt>
                <c:pt idx="1071">
                  <c:v>45516.0</c:v>
                </c:pt>
                <c:pt idx="1072">
                  <c:v>45517.0</c:v>
                </c:pt>
                <c:pt idx="1073">
                  <c:v>45518.0</c:v>
                </c:pt>
                <c:pt idx="1074">
                  <c:v>45519.0</c:v>
                </c:pt>
                <c:pt idx="1075">
                  <c:v>45520.0</c:v>
                </c:pt>
                <c:pt idx="1076">
                  <c:v>45521.0</c:v>
                </c:pt>
                <c:pt idx="1077">
                  <c:v>45522.0</c:v>
                </c:pt>
                <c:pt idx="1078">
                  <c:v>45523.0</c:v>
                </c:pt>
                <c:pt idx="1079">
                  <c:v>45524.0</c:v>
                </c:pt>
                <c:pt idx="1080">
                  <c:v>45525.0</c:v>
                </c:pt>
                <c:pt idx="1081">
                  <c:v>45526.0</c:v>
                </c:pt>
                <c:pt idx="1082">
                  <c:v>45527.0</c:v>
                </c:pt>
                <c:pt idx="1083">
                  <c:v>45528.0</c:v>
                </c:pt>
                <c:pt idx="1084">
                  <c:v>45529.0</c:v>
                </c:pt>
                <c:pt idx="1085">
                  <c:v>45530.0</c:v>
                </c:pt>
                <c:pt idx="1086">
                  <c:v>45531.0</c:v>
                </c:pt>
                <c:pt idx="1087">
                  <c:v>45532.0</c:v>
                </c:pt>
                <c:pt idx="1088">
                  <c:v>45533.0</c:v>
                </c:pt>
                <c:pt idx="1089">
                  <c:v>45534.0</c:v>
                </c:pt>
                <c:pt idx="1090">
                  <c:v>45535.0</c:v>
                </c:pt>
                <c:pt idx="1091">
                  <c:v>45536.0</c:v>
                </c:pt>
                <c:pt idx="1092">
                  <c:v>45537.0</c:v>
                </c:pt>
                <c:pt idx="1093">
                  <c:v>45538.0</c:v>
                </c:pt>
                <c:pt idx="1094">
                  <c:v>45539.0</c:v>
                </c:pt>
                <c:pt idx="1095">
                  <c:v>45540.0</c:v>
                </c:pt>
                <c:pt idx="1096">
                  <c:v>45541.0</c:v>
                </c:pt>
                <c:pt idx="1097">
                  <c:v>45542.0</c:v>
                </c:pt>
                <c:pt idx="1098">
                  <c:v>45543.0</c:v>
                </c:pt>
                <c:pt idx="1099">
                  <c:v>45544.0</c:v>
                </c:pt>
                <c:pt idx="1100">
                  <c:v>45545.0</c:v>
                </c:pt>
                <c:pt idx="1101">
                  <c:v>45546.0</c:v>
                </c:pt>
                <c:pt idx="1102">
                  <c:v>45547.0</c:v>
                </c:pt>
                <c:pt idx="1103">
                  <c:v>45548.0</c:v>
                </c:pt>
                <c:pt idx="1104">
                  <c:v>45549.0</c:v>
                </c:pt>
                <c:pt idx="1105">
                  <c:v>45550.0</c:v>
                </c:pt>
                <c:pt idx="1106">
                  <c:v>45551.0</c:v>
                </c:pt>
                <c:pt idx="1107">
                  <c:v>45552.0</c:v>
                </c:pt>
                <c:pt idx="1108">
                  <c:v>45553.0</c:v>
                </c:pt>
                <c:pt idx="1109">
                  <c:v>45554.0</c:v>
                </c:pt>
                <c:pt idx="1110">
                  <c:v>45555.0</c:v>
                </c:pt>
                <c:pt idx="1111">
                  <c:v>45556.0</c:v>
                </c:pt>
                <c:pt idx="1112">
                  <c:v>45557.0</c:v>
                </c:pt>
                <c:pt idx="1113">
                  <c:v>45558.0</c:v>
                </c:pt>
                <c:pt idx="1114">
                  <c:v>45559.0</c:v>
                </c:pt>
                <c:pt idx="1115">
                  <c:v>45560.0</c:v>
                </c:pt>
                <c:pt idx="1116">
                  <c:v>45561.0</c:v>
                </c:pt>
                <c:pt idx="1117">
                  <c:v>45562.0</c:v>
                </c:pt>
                <c:pt idx="1118">
                  <c:v>45563.0</c:v>
                </c:pt>
                <c:pt idx="1119">
                  <c:v>45564.0</c:v>
                </c:pt>
                <c:pt idx="1120">
                  <c:v>45565.0</c:v>
                </c:pt>
                <c:pt idx="1121">
                  <c:v>45566.0</c:v>
                </c:pt>
                <c:pt idx="1122">
                  <c:v>45567.0</c:v>
                </c:pt>
                <c:pt idx="1123">
                  <c:v>45568.0</c:v>
                </c:pt>
                <c:pt idx="1124">
                  <c:v>45569.0</c:v>
                </c:pt>
                <c:pt idx="1125">
                  <c:v>45570.0</c:v>
                </c:pt>
                <c:pt idx="1126">
                  <c:v>45571.0</c:v>
                </c:pt>
                <c:pt idx="1127">
                  <c:v>45572.0</c:v>
                </c:pt>
                <c:pt idx="1128">
                  <c:v>45573.0</c:v>
                </c:pt>
                <c:pt idx="1129">
                  <c:v>45574.0</c:v>
                </c:pt>
                <c:pt idx="1130">
                  <c:v>45575.0</c:v>
                </c:pt>
                <c:pt idx="1131">
                  <c:v>45576.0</c:v>
                </c:pt>
                <c:pt idx="1132">
                  <c:v>45577.0</c:v>
                </c:pt>
                <c:pt idx="1133">
                  <c:v>45578.0</c:v>
                </c:pt>
                <c:pt idx="1134">
                  <c:v>45579.0</c:v>
                </c:pt>
                <c:pt idx="1135">
                  <c:v>45580.0</c:v>
                </c:pt>
                <c:pt idx="1136">
                  <c:v>45581.0</c:v>
                </c:pt>
                <c:pt idx="1137">
                  <c:v>45582.0</c:v>
                </c:pt>
                <c:pt idx="1138">
                  <c:v>45583.0</c:v>
                </c:pt>
                <c:pt idx="1139">
                  <c:v>45584.0</c:v>
                </c:pt>
                <c:pt idx="1140">
                  <c:v>45585.0</c:v>
                </c:pt>
                <c:pt idx="1141">
                  <c:v>45586.0</c:v>
                </c:pt>
                <c:pt idx="1142">
                  <c:v>45587.0</c:v>
                </c:pt>
                <c:pt idx="1143">
                  <c:v>45588.0</c:v>
                </c:pt>
                <c:pt idx="1144">
                  <c:v>45589.0</c:v>
                </c:pt>
                <c:pt idx="1145">
                  <c:v>45590.0</c:v>
                </c:pt>
                <c:pt idx="1146">
                  <c:v>45591.0</c:v>
                </c:pt>
                <c:pt idx="1147">
                  <c:v>45592.0</c:v>
                </c:pt>
                <c:pt idx="1148">
                  <c:v>45593.0</c:v>
                </c:pt>
                <c:pt idx="1149">
                  <c:v>45594.0</c:v>
                </c:pt>
                <c:pt idx="1150">
                  <c:v>45595.0</c:v>
                </c:pt>
                <c:pt idx="1151">
                  <c:v>45596.0</c:v>
                </c:pt>
                <c:pt idx="1152">
                  <c:v>45597.0</c:v>
                </c:pt>
                <c:pt idx="1153">
                  <c:v>45598.0</c:v>
                </c:pt>
                <c:pt idx="1154">
                  <c:v>45599.0</c:v>
                </c:pt>
                <c:pt idx="1155">
                  <c:v>45600.0</c:v>
                </c:pt>
                <c:pt idx="1156">
                  <c:v>45601.0</c:v>
                </c:pt>
                <c:pt idx="1157">
                  <c:v>45602.0</c:v>
                </c:pt>
                <c:pt idx="1158">
                  <c:v>45603.0</c:v>
                </c:pt>
                <c:pt idx="1159">
                  <c:v>45604.0</c:v>
                </c:pt>
                <c:pt idx="1160">
                  <c:v>45605.0</c:v>
                </c:pt>
                <c:pt idx="1161">
                  <c:v>45606.0</c:v>
                </c:pt>
                <c:pt idx="1162">
                  <c:v>45607.0</c:v>
                </c:pt>
                <c:pt idx="1163">
                  <c:v>45608.0</c:v>
                </c:pt>
                <c:pt idx="1164">
                  <c:v>45609.0</c:v>
                </c:pt>
                <c:pt idx="1165">
                  <c:v>45610.0</c:v>
                </c:pt>
                <c:pt idx="1166">
                  <c:v>45611.0</c:v>
                </c:pt>
                <c:pt idx="1167">
                  <c:v>45612.0</c:v>
                </c:pt>
                <c:pt idx="1168">
                  <c:v>45613.0</c:v>
                </c:pt>
                <c:pt idx="1169">
                  <c:v>45614.0</c:v>
                </c:pt>
                <c:pt idx="1170">
                  <c:v>45615.0</c:v>
                </c:pt>
                <c:pt idx="1171">
                  <c:v>45616.0</c:v>
                </c:pt>
                <c:pt idx="1172">
                  <c:v>45617.0</c:v>
                </c:pt>
                <c:pt idx="1173">
                  <c:v>45618.0</c:v>
                </c:pt>
                <c:pt idx="1174">
                  <c:v>45619.0</c:v>
                </c:pt>
                <c:pt idx="1175">
                  <c:v>45620.0</c:v>
                </c:pt>
                <c:pt idx="1176">
                  <c:v>45621.0</c:v>
                </c:pt>
                <c:pt idx="1177">
                  <c:v>45622.0</c:v>
                </c:pt>
                <c:pt idx="1178">
                  <c:v>45623.0</c:v>
                </c:pt>
                <c:pt idx="1179">
                  <c:v>45624.0</c:v>
                </c:pt>
                <c:pt idx="1180">
                  <c:v>45625.0</c:v>
                </c:pt>
                <c:pt idx="1181">
                  <c:v>45626.0</c:v>
                </c:pt>
                <c:pt idx="1182">
                  <c:v>45627.0</c:v>
                </c:pt>
                <c:pt idx="1183">
                  <c:v>45628.0</c:v>
                </c:pt>
                <c:pt idx="1184">
                  <c:v>45629.0</c:v>
                </c:pt>
                <c:pt idx="1185">
                  <c:v>45630.0</c:v>
                </c:pt>
                <c:pt idx="1186">
                  <c:v>45631.0</c:v>
                </c:pt>
                <c:pt idx="1187">
                  <c:v>45632.0</c:v>
                </c:pt>
                <c:pt idx="1188">
                  <c:v>45633.0</c:v>
                </c:pt>
                <c:pt idx="1189">
                  <c:v>45634.0</c:v>
                </c:pt>
                <c:pt idx="1190">
                  <c:v>45635.0</c:v>
                </c:pt>
                <c:pt idx="1191">
                  <c:v>45636.0</c:v>
                </c:pt>
                <c:pt idx="1192">
                  <c:v>45637.0</c:v>
                </c:pt>
                <c:pt idx="1193">
                  <c:v>45638.0</c:v>
                </c:pt>
                <c:pt idx="1194">
                  <c:v>45639.0</c:v>
                </c:pt>
                <c:pt idx="1195">
                  <c:v>45640.0</c:v>
                </c:pt>
                <c:pt idx="1196">
                  <c:v>45641.0</c:v>
                </c:pt>
                <c:pt idx="1197">
                  <c:v>45642.0</c:v>
                </c:pt>
                <c:pt idx="1198">
                  <c:v>45643.0</c:v>
                </c:pt>
                <c:pt idx="1199">
                  <c:v>45644.0</c:v>
                </c:pt>
                <c:pt idx="1200">
                  <c:v>45645.0</c:v>
                </c:pt>
                <c:pt idx="1201">
                  <c:v>45646.0</c:v>
                </c:pt>
                <c:pt idx="1202">
                  <c:v>45647.0</c:v>
                </c:pt>
                <c:pt idx="1203">
                  <c:v>45648.0</c:v>
                </c:pt>
                <c:pt idx="1204">
                  <c:v>45649.0</c:v>
                </c:pt>
                <c:pt idx="1205">
                  <c:v>45650.0</c:v>
                </c:pt>
                <c:pt idx="1206">
                  <c:v>45651.0</c:v>
                </c:pt>
                <c:pt idx="1207">
                  <c:v>45652.0</c:v>
                </c:pt>
                <c:pt idx="1208">
                  <c:v>45653.0</c:v>
                </c:pt>
                <c:pt idx="1209">
                  <c:v>45654.0</c:v>
                </c:pt>
                <c:pt idx="1210">
                  <c:v>45655.0</c:v>
                </c:pt>
                <c:pt idx="1211">
                  <c:v>45656.0</c:v>
                </c:pt>
                <c:pt idx="1212">
                  <c:v>45657.0</c:v>
                </c:pt>
                <c:pt idx="1213">
                  <c:v>45658.0</c:v>
                </c:pt>
                <c:pt idx="1214">
                  <c:v>45659.0</c:v>
                </c:pt>
                <c:pt idx="1215">
                  <c:v>45660.0</c:v>
                </c:pt>
                <c:pt idx="1216">
                  <c:v>45661.0</c:v>
                </c:pt>
                <c:pt idx="1217">
                  <c:v>45662.0</c:v>
                </c:pt>
                <c:pt idx="1218">
                  <c:v>45663.0</c:v>
                </c:pt>
                <c:pt idx="1219">
                  <c:v>45664.0</c:v>
                </c:pt>
                <c:pt idx="1220">
                  <c:v>45665.0</c:v>
                </c:pt>
                <c:pt idx="1221">
                  <c:v>45666.0</c:v>
                </c:pt>
                <c:pt idx="1222">
                  <c:v>45667.0</c:v>
                </c:pt>
                <c:pt idx="1223">
                  <c:v>45668.0</c:v>
                </c:pt>
                <c:pt idx="1224">
                  <c:v>45669.0</c:v>
                </c:pt>
                <c:pt idx="1225">
                  <c:v>45670.0</c:v>
                </c:pt>
                <c:pt idx="1226">
                  <c:v>45671.0</c:v>
                </c:pt>
                <c:pt idx="1227">
                  <c:v>45672.0</c:v>
                </c:pt>
                <c:pt idx="1228">
                  <c:v>45673.0</c:v>
                </c:pt>
                <c:pt idx="1229">
                  <c:v>45674.0</c:v>
                </c:pt>
                <c:pt idx="1230">
                  <c:v>45675.0</c:v>
                </c:pt>
                <c:pt idx="1231">
                  <c:v>45676.0</c:v>
                </c:pt>
                <c:pt idx="1232">
                  <c:v>45677.0</c:v>
                </c:pt>
                <c:pt idx="1233">
                  <c:v>45678.0</c:v>
                </c:pt>
                <c:pt idx="1234">
                  <c:v>45679.0</c:v>
                </c:pt>
                <c:pt idx="1235">
                  <c:v>45680.0</c:v>
                </c:pt>
                <c:pt idx="1236">
                  <c:v>45681.0</c:v>
                </c:pt>
                <c:pt idx="1237">
                  <c:v>45682.0</c:v>
                </c:pt>
                <c:pt idx="1238">
                  <c:v>45683.0</c:v>
                </c:pt>
                <c:pt idx="1239">
                  <c:v>45684.0</c:v>
                </c:pt>
                <c:pt idx="1240">
                  <c:v>45685.0</c:v>
                </c:pt>
                <c:pt idx="1241">
                  <c:v>45686.0</c:v>
                </c:pt>
                <c:pt idx="1242">
                  <c:v>45687.0</c:v>
                </c:pt>
                <c:pt idx="1243">
                  <c:v>45688.0</c:v>
                </c:pt>
                <c:pt idx="1244">
                  <c:v>45689.0</c:v>
                </c:pt>
                <c:pt idx="1245">
                  <c:v>45690.0</c:v>
                </c:pt>
                <c:pt idx="1246">
                  <c:v>45691.0</c:v>
                </c:pt>
                <c:pt idx="1247">
                  <c:v>45692.0</c:v>
                </c:pt>
                <c:pt idx="1248">
                  <c:v>45693.0</c:v>
                </c:pt>
                <c:pt idx="1249">
                  <c:v>45694.0</c:v>
                </c:pt>
                <c:pt idx="1250">
                  <c:v>45695.0</c:v>
                </c:pt>
                <c:pt idx="1251">
                  <c:v>45696.0</c:v>
                </c:pt>
                <c:pt idx="1252">
                  <c:v>45697.0</c:v>
                </c:pt>
                <c:pt idx="1253">
                  <c:v>45698.0</c:v>
                </c:pt>
                <c:pt idx="1254">
                  <c:v>45699.0</c:v>
                </c:pt>
                <c:pt idx="1255">
                  <c:v>45700.0</c:v>
                </c:pt>
                <c:pt idx="1256">
                  <c:v>45701.0</c:v>
                </c:pt>
                <c:pt idx="1257">
                  <c:v>45702.0</c:v>
                </c:pt>
                <c:pt idx="1258">
                  <c:v>45703.0</c:v>
                </c:pt>
                <c:pt idx="1259">
                  <c:v>45704.0</c:v>
                </c:pt>
                <c:pt idx="1260">
                  <c:v>45705.0</c:v>
                </c:pt>
                <c:pt idx="1261">
                  <c:v>45706.0</c:v>
                </c:pt>
                <c:pt idx="1262">
                  <c:v>45707.0</c:v>
                </c:pt>
                <c:pt idx="1263">
                  <c:v>45708.0</c:v>
                </c:pt>
                <c:pt idx="1264">
                  <c:v>45709.0</c:v>
                </c:pt>
                <c:pt idx="1265">
                  <c:v>45710.0</c:v>
                </c:pt>
                <c:pt idx="1266">
                  <c:v>45711.0</c:v>
                </c:pt>
                <c:pt idx="1267">
                  <c:v>45712.0</c:v>
                </c:pt>
                <c:pt idx="1268">
                  <c:v>45713.0</c:v>
                </c:pt>
                <c:pt idx="1269">
                  <c:v>45714.0</c:v>
                </c:pt>
                <c:pt idx="1270">
                  <c:v>45715.0</c:v>
                </c:pt>
                <c:pt idx="1271">
                  <c:v>45716.0</c:v>
                </c:pt>
                <c:pt idx="1272">
                  <c:v>45717.0</c:v>
                </c:pt>
                <c:pt idx="1273">
                  <c:v>45718.0</c:v>
                </c:pt>
                <c:pt idx="1274">
                  <c:v>45719.0</c:v>
                </c:pt>
                <c:pt idx="1275">
                  <c:v>45720.0</c:v>
                </c:pt>
                <c:pt idx="1276">
                  <c:v>45721.0</c:v>
                </c:pt>
                <c:pt idx="1277">
                  <c:v>45722.0</c:v>
                </c:pt>
                <c:pt idx="1278">
                  <c:v>45723.0</c:v>
                </c:pt>
                <c:pt idx="1279">
                  <c:v>45724.0</c:v>
                </c:pt>
                <c:pt idx="1280">
                  <c:v>45725.0</c:v>
                </c:pt>
                <c:pt idx="1281">
                  <c:v>45726.0</c:v>
                </c:pt>
                <c:pt idx="1282">
                  <c:v>45727.0</c:v>
                </c:pt>
                <c:pt idx="1283">
                  <c:v>45728.0</c:v>
                </c:pt>
                <c:pt idx="1284">
                  <c:v>45729.0</c:v>
                </c:pt>
                <c:pt idx="1285">
                  <c:v>45730.0</c:v>
                </c:pt>
                <c:pt idx="1286">
                  <c:v>45731.0</c:v>
                </c:pt>
                <c:pt idx="1287">
                  <c:v>45732.0</c:v>
                </c:pt>
                <c:pt idx="1288">
                  <c:v>45733.0</c:v>
                </c:pt>
                <c:pt idx="1289">
                  <c:v>45734.0</c:v>
                </c:pt>
                <c:pt idx="1290">
                  <c:v>45735.0</c:v>
                </c:pt>
                <c:pt idx="1291">
                  <c:v>45736.0</c:v>
                </c:pt>
                <c:pt idx="1292">
                  <c:v>45737.0</c:v>
                </c:pt>
                <c:pt idx="1293">
                  <c:v>45738.0</c:v>
                </c:pt>
                <c:pt idx="1294">
                  <c:v>45739.0</c:v>
                </c:pt>
                <c:pt idx="1295">
                  <c:v>45740.0</c:v>
                </c:pt>
                <c:pt idx="1296">
                  <c:v>45741.0</c:v>
                </c:pt>
                <c:pt idx="1297">
                  <c:v>45742.0</c:v>
                </c:pt>
                <c:pt idx="1298">
                  <c:v>45743.0</c:v>
                </c:pt>
                <c:pt idx="1299">
                  <c:v>45744.0</c:v>
                </c:pt>
                <c:pt idx="1300">
                  <c:v>45745.0</c:v>
                </c:pt>
                <c:pt idx="1301">
                  <c:v>45746.0</c:v>
                </c:pt>
                <c:pt idx="1302">
                  <c:v>45747.0</c:v>
                </c:pt>
                <c:pt idx="1303">
                  <c:v>45748.0</c:v>
                </c:pt>
                <c:pt idx="1304">
                  <c:v>45749.0</c:v>
                </c:pt>
                <c:pt idx="1305">
                  <c:v>45750.0</c:v>
                </c:pt>
                <c:pt idx="1306">
                  <c:v>45751.0</c:v>
                </c:pt>
                <c:pt idx="1307">
                  <c:v>45752.0</c:v>
                </c:pt>
                <c:pt idx="1308">
                  <c:v>45753.0</c:v>
                </c:pt>
                <c:pt idx="1309">
                  <c:v>45754.0</c:v>
                </c:pt>
                <c:pt idx="1310">
                  <c:v>45755.0</c:v>
                </c:pt>
                <c:pt idx="1311">
                  <c:v>45756.0</c:v>
                </c:pt>
                <c:pt idx="1312">
                  <c:v>45757.0</c:v>
                </c:pt>
                <c:pt idx="1313">
                  <c:v>45758.0</c:v>
                </c:pt>
                <c:pt idx="1314">
                  <c:v>45759.0</c:v>
                </c:pt>
                <c:pt idx="1315">
                  <c:v>45760.0</c:v>
                </c:pt>
                <c:pt idx="1316">
                  <c:v>45761.0</c:v>
                </c:pt>
                <c:pt idx="1317">
                  <c:v>45762.0</c:v>
                </c:pt>
                <c:pt idx="1318">
                  <c:v>45763.0</c:v>
                </c:pt>
                <c:pt idx="1319">
                  <c:v>45764.0</c:v>
                </c:pt>
                <c:pt idx="1320">
                  <c:v>45765.0</c:v>
                </c:pt>
                <c:pt idx="1321">
                  <c:v>45766.0</c:v>
                </c:pt>
                <c:pt idx="1322">
                  <c:v>45767.0</c:v>
                </c:pt>
                <c:pt idx="1323">
                  <c:v>45768.0</c:v>
                </c:pt>
                <c:pt idx="1324">
                  <c:v>45769.0</c:v>
                </c:pt>
                <c:pt idx="1325">
                  <c:v>45770.0</c:v>
                </c:pt>
                <c:pt idx="1326">
                  <c:v>45771.0</c:v>
                </c:pt>
                <c:pt idx="1327">
                  <c:v>45772.0</c:v>
                </c:pt>
                <c:pt idx="1328">
                  <c:v>45773.0</c:v>
                </c:pt>
                <c:pt idx="1329">
                  <c:v>45774.0</c:v>
                </c:pt>
                <c:pt idx="1330">
                  <c:v>45775.0</c:v>
                </c:pt>
                <c:pt idx="1331">
                  <c:v>45776.0</c:v>
                </c:pt>
                <c:pt idx="1332">
                  <c:v>45777.0</c:v>
                </c:pt>
                <c:pt idx="1333">
                  <c:v>45778.0</c:v>
                </c:pt>
                <c:pt idx="1334">
                  <c:v>45779.0</c:v>
                </c:pt>
                <c:pt idx="1335">
                  <c:v>45780.0</c:v>
                </c:pt>
                <c:pt idx="1336">
                  <c:v>45781.0</c:v>
                </c:pt>
                <c:pt idx="1337">
                  <c:v>45782.0</c:v>
                </c:pt>
                <c:pt idx="1338">
                  <c:v>45783.0</c:v>
                </c:pt>
                <c:pt idx="1339">
                  <c:v>45784.0</c:v>
                </c:pt>
                <c:pt idx="1340">
                  <c:v>45785.0</c:v>
                </c:pt>
                <c:pt idx="1341">
                  <c:v>45786.0</c:v>
                </c:pt>
                <c:pt idx="1342">
                  <c:v>45787.0</c:v>
                </c:pt>
                <c:pt idx="1343">
                  <c:v>45788.0</c:v>
                </c:pt>
                <c:pt idx="1344">
                  <c:v>45789.0</c:v>
                </c:pt>
                <c:pt idx="1345">
                  <c:v>45790.0</c:v>
                </c:pt>
                <c:pt idx="1346">
                  <c:v>45791.0</c:v>
                </c:pt>
                <c:pt idx="1347">
                  <c:v>45792.0</c:v>
                </c:pt>
                <c:pt idx="1348">
                  <c:v>45793.0</c:v>
                </c:pt>
                <c:pt idx="1349">
                  <c:v>45794.0</c:v>
                </c:pt>
                <c:pt idx="1350">
                  <c:v>45795.0</c:v>
                </c:pt>
                <c:pt idx="1351">
                  <c:v>45796.0</c:v>
                </c:pt>
                <c:pt idx="1352">
                  <c:v>45797.0</c:v>
                </c:pt>
                <c:pt idx="1353">
                  <c:v>45798.0</c:v>
                </c:pt>
                <c:pt idx="1354">
                  <c:v>45799.0</c:v>
                </c:pt>
                <c:pt idx="1355">
                  <c:v>45800.0</c:v>
                </c:pt>
                <c:pt idx="1356">
                  <c:v>45801.0</c:v>
                </c:pt>
                <c:pt idx="1357">
                  <c:v>45802.0</c:v>
                </c:pt>
                <c:pt idx="1358">
                  <c:v>45803.0</c:v>
                </c:pt>
                <c:pt idx="1359">
                  <c:v>45804.0</c:v>
                </c:pt>
                <c:pt idx="1360">
                  <c:v>45805.0</c:v>
                </c:pt>
                <c:pt idx="1361">
                  <c:v>45806.0</c:v>
                </c:pt>
                <c:pt idx="1362">
                  <c:v>45807.0</c:v>
                </c:pt>
                <c:pt idx="1363">
                  <c:v>45808.0</c:v>
                </c:pt>
                <c:pt idx="1364">
                  <c:v>45809.0</c:v>
                </c:pt>
                <c:pt idx="1365">
                  <c:v>45810.0</c:v>
                </c:pt>
                <c:pt idx="1366">
                  <c:v>45811.0</c:v>
                </c:pt>
                <c:pt idx="1367">
                  <c:v>45812.0</c:v>
                </c:pt>
                <c:pt idx="1368">
                  <c:v>45813.0</c:v>
                </c:pt>
                <c:pt idx="1369">
                  <c:v>45814.0</c:v>
                </c:pt>
                <c:pt idx="1370">
                  <c:v>45815.0</c:v>
                </c:pt>
                <c:pt idx="1371">
                  <c:v>45816.0</c:v>
                </c:pt>
                <c:pt idx="1372">
                  <c:v>45817.0</c:v>
                </c:pt>
                <c:pt idx="1373">
                  <c:v>45818.0</c:v>
                </c:pt>
                <c:pt idx="1374">
                  <c:v>45819.0</c:v>
                </c:pt>
                <c:pt idx="1375">
                  <c:v>45820.0</c:v>
                </c:pt>
                <c:pt idx="1376">
                  <c:v>45821.0</c:v>
                </c:pt>
                <c:pt idx="1377">
                  <c:v>45822.0</c:v>
                </c:pt>
                <c:pt idx="1378">
                  <c:v>45823.0</c:v>
                </c:pt>
                <c:pt idx="1379">
                  <c:v>45824.0</c:v>
                </c:pt>
                <c:pt idx="1380">
                  <c:v>45825.0</c:v>
                </c:pt>
                <c:pt idx="1381">
                  <c:v>45826.0</c:v>
                </c:pt>
                <c:pt idx="1382">
                  <c:v>45827.0</c:v>
                </c:pt>
                <c:pt idx="1383">
                  <c:v>45828.0</c:v>
                </c:pt>
                <c:pt idx="1384">
                  <c:v>45829.0</c:v>
                </c:pt>
                <c:pt idx="1385">
                  <c:v>45830.0</c:v>
                </c:pt>
                <c:pt idx="1386">
                  <c:v>45831.0</c:v>
                </c:pt>
                <c:pt idx="1387">
                  <c:v>45832.0</c:v>
                </c:pt>
                <c:pt idx="1388">
                  <c:v>45833.0</c:v>
                </c:pt>
                <c:pt idx="1389">
                  <c:v>45834.0</c:v>
                </c:pt>
                <c:pt idx="1390">
                  <c:v>45835.0</c:v>
                </c:pt>
                <c:pt idx="1391">
                  <c:v>45836.0</c:v>
                </c:pt>
                <c:pt idx="1392">
                  <c:v>45837.0</c:v>
                </c:pt>
                <c:pt idx="1393">
                  <c:v>45838.0</c:v>
                </c:pt>
                <c:pt idx="1394">
                  <c:v>45839.0</c:v>
                </c:pt>
                <c:pt idx="1395">
                  <c:v>45840.0</c:v>
                </c:pt>
                <c:pt idx="1396">
                  <c:v>45841.0</c:v>
                </c:pt>
                <c:pt idx="1397">
                  <c:v>45842.0</c:v>
                </c:pt>
                <c:pt idx="1398">
                  <c:v>45843.0</c:v>
                </c:pt>
                <c:pt idx="1399">
                  <c:v>45844.0</c:v>
                </c:pt>
                <c:pt idx="1400">
                  <c:v>45845.0</c:v>
                </c:pt>
                <c:pt idx="1401">
                  <c:v>45846.0</c:v>
                </c:pt>
                <c:pt idx="1402">
                  <c:v>45847.0</c:v>
                </c:pt>
                <c:pt idx="1403">
                  <c:v>45848.0</c:v>
                </c:pt>
                <c:pt idx="1404">
                  <c:v>45849.0</c:v>
                </c:pt>
                <c:pt idx="1405">
                  <c:v>45850.0</c:v>
                </c:pt>
                <c:pt idx="1406">
                  <c:v>45851.0</c:v>
                </c:pt>
                <c:pt idx="1407">
                  <c:v>45852.0</c:v>
                </c:pt>
                <c:pt idx="1408">
                  <c:v>45853.0</c:v>
                </c:pt>
                <c:pt idx="1409">
                  <c:v>45854.0</c:v>
                </c:pt>
                <c:pt idx="1410">
                  <c:v>45855.0</c:v>
                </c:pt>
                <c:pt idx="1411">
                  <c:v>45856.0</c:v>
                </c:pt>
                <c:pt idx="1412">
                  <c:v>45857.0</c:v>
                </c:pt>
                <c:pt idx="1413">
                  <c:v>45858.0</c:v>
                </c:pt>
                <c:pt idx="1414">
                  <c:v>45859.0</c:v>
                </c:pt>
                <c:pt idx="1415">
                  <c:v>45860.0</c:v>
                </c:pt>
                <c:pt idx="1416">
                  <c:v>45861.0</c:v>
                </c:pt>
                <c:pt idx="1417">
                  <c:v>45862.0</c:v>
                </c:pt>
                <c:pt idx="1418">
                  <c:v>45863.0</c:v>
                </c:pt>
                <c:pt idx="1419">
                  <c:v>45864.0</c:v>
                </c:pt>
                <c:pt idx="1420">
                  <c:v>45865.0</c:v>
                </c:pt>
                <c:pt idx="1421">
                  <c:v>45866.0</c:v>
                </c:pt>
                <c:pt idx="1422">
                  <c:v>45867.0</c:v>
                </c:pt>
                <c:pt idx="1423">
                  <c:v>45868.0</c:v>
                </c:pt>
                <c:pt idx="1424">
                  <c:v>45869.0</c:v>
                </c:pt>
                <c:pt idx="1425">
                  <c:v>45870.0</c:v>
                </c:pt>
                <c:pt idx="1426">
                  <c:v>45871.0</c:v>
                </c:pt>
                <c:pt idx="1427">
                  <c:v>45872.0</c:v>
                </c:pt>
                <c:pt idx="1428">
                  <c:v>45873.0</c:v>
                </c:pt>
                <c:pt idx="1429">
                  <c:v>45874.0</c:v>
                </c:pt>
                <c:pt idx="1430">
                  <c:v>45875.0</c:v>
                </c:pt>
                <c:pt idx="1431">
                  <c:v>45876.0</c:v>
                </c:pt>
                <c:pt idx="1432">
                  <c:v>45877.0</c:v>
                </c:pt>
                <c:pt idx="1433">
                  <c:v>45878.0</c:v>
                </c:pt>
                <c:pt idx="1434">
                  <c:v>45879.0</c:v>
                </c:pt>
                <c:pt idx="1435">
                  <c:v>45880.0</c:v>
                </c:pt>
                <c:pt idx="1436">
                  <c:v>45881.0</c:v>
                </c:pt>
                <c:pt idx="1437">
                  <c:v>45882.0</c:v>
                </c:pt>
                <c:pt idx="1438">
                  <c:v>45883.0</c:v>
                </c:pt>
                <c:pt idx="1439">
                  <c:v>45884.0</c:v>
                </c:pt>
                <c:pt idx="1440">
                  <c:v>45885.0</c:v>
                </c:pt>
                <c:pt idx="1441">
                  <c:v>45886.0</c:v>
                </c:pt>
                <c:pt idx="1442">
                  <c:v>45887.0</c:v>
                </c:pt>
                <c:pt idx="1443">
                  <c:v>45888.0</c:v>
                </c:pt>
                <c:pt idx="1444">
                  <c:v>45889.0</c:v>
                </c:pt>
                <c:pt idx="1445">
                  <c:v>45890.0</c:v>
                </c:pt>
                <c:pt idx="1446">
                  <c:v>45891.0</c:v>
                </c:pt>
                <c:pt idx="1447">
                  <c:v>45892.0</c:v>
                </c:pt>
                <c:pt idx="1448">
                  <c:v>45893.0</c:v>
                </c:pt>
                <c:pt idx="1449">
                  <c:v>45894.0</c:v>
                </c:pt>
                <c:pt idx="1450">
                  <c:v>45895.0</c:v>
                </c:pt>
                <c:pt idx="1451">
                  <c:v>45896.0</c:v>
                </c:pt>
                <c:pt idx="1452">
                  <c:v>45897.0</c:v>
                </c:pt>
                <c:pt idx="1453">
                  <c:v>45898.0</c:v>
                </c:pt>
                <c:pt idx="1454">
                  <c:v>45899.0</c:v>
                </c:pt>
                <c:pt idx="1455">
                  <c:v>45900.0</c:v>
                </c:pt>
                <c:pt idx="1456">
                  <c:v>45901.0</c:v>
                </c:pt>
                <c:pt idx="1457">
                  <c:v>45902.0</c:v>
                </c:pt>
                <c:pt idx="1458">
                  <c:v>45903.0</c:v>
                </c:pt>
                <c:pt idx="1459">
                  <c:v>45904.0</c:v>
                </c:pt>
                <c:pt idx="1460">
                  <c:v>45905.0</c:v>
                </c:pt>
                <c:pt idx="1461">
                  <c:v>45906.0</c:v>
                </c:pt>
                <c:pt idx="1462">
                  <c:v>45907.0</c:v>
                </c:pt>
                <c:pt idx="1463">
                  <c:v>45908.0</c:v>
                </c:pt>
                <c:pt idx="1464">
                  <c:v>45909.0</c:v>
                </c:pt>
                <c:pt idx="1465">
                  <c:v>45910.0</c:v>
                </c:pt>
                <c:pt idx="1466">
                  <c:v>45911.0</c:v>
                </c:pt>
                <c:pt idx="1467">
                  <c:v>45912.0</c:v>
                </c:pt>
                <c:pt idx="1468">
                  <c:v>45913.0</c:v>
                </c:pt>
                <c:pt idx="1469">
                  <c:v>45914.0</c:v>
                </c:pt>
                <c:pt idx="1470">
                  <c:v>45915.0</c:v>
                </c:pt>
                <c:pt idx="1471">
                  <c:v>45916.0</c:v>
                </c:pt>
                <c:pt idx="1472">
                  <c:v>45917.0</c:v>
                </c:pt>
                <c:pt idx="1473">
                  <c:v>45918.0</c:v>
                </c:pt>
                <c:pt idx="1474">
                  <c:v>45919.0</c:v>
                </c:pt>
                <c:pt idx="1475">
                  <c:v>45920.0</c:v>
                </c:pt>
                <c:pt idx="1476">
                  <c:v>45921.0</c:v>
                </c:pt>
                <c:pt idx="1477">
                  <c:v>45922.0</c:v>
                </c:pt>
                <c:pt idx="1478">
                  <c:v>45923.0</c:v>
                </c:pt>
                <c:pt idx="1479">
                  <c:v>45924.0</c:v>
                </c:pt>
                <c:pt idx="1480">
                  <c:v>45925.0</c:v>
                </c:pt>
                <c:pt idx="1481">
                  <c:v>45926.0</c:v>
                </c:pt>
                <c:pt idx="1482">
                  <c:v>45927.0</c:v>
                </c:pt>
                <c:pt idx="1483">
                  <c:v>45928.0</c:v>
                </c:pt>
                <c:pt idx="1484">
                  <c:v>45929.0</c:v>
                </c:pt>
                <c:pt idx="1485">
                  <c:v>45930.0</c:v>
                </c:pt>
              </c:numCache>
            </c:numRef>
          </c:cat>
          <c:val>
            <c:numRef>
              <c:f>Sheet1!$E$2:$E$1487</c:f>
              <c:numCache>
                <c:formatCode>General</c:formatCode>
                <c:ptCount val="1486"/>
                <c:pt idx="0">
                  <c:v>0.0</c:v>
                </c:pt>
                <c:pt idx="1">
                  <c:v>-0.0012941536787978158</c:v>
                </c:pt>
                <c:pt idx="2">
                  <c:v>-0.005559425096457904</c:v>
                </c:pt>
                <c:pt idx="3">
                  <c:v>-0.004830250115644419</c:v>
                </c:pt>
                <c:pt idx="4">
                  <c:v>-0.009688860010780287</c:v>
                </c:pt>
                <c:pt idx="5">
                  <c:v>-0.009688860010780287</c:v>
                </c:pt>
                <c:pt idx="6">
                  <c:v>-0.009688860010780287</c:v>
                </c:pt>
                <c:pt idx="7">
                  <c:v>-0.0036728603020506068</c:v>
                </c:pt>
                <c:pt idx="8">
                  <c:v>-0.0070734931364114795</c:v>
                </c:pt>
                <c:pt idx="9">
                  <c:v>0.002134075580205508</c:v>
                </c:pt>
                <c:pt idx="10">
                  <c:v>0.0005101280648660556</c:v>
                </c:pt>
                <c:pt idx="11">
                  <c:v>-0.008279052640387974</c:v>
                </c:pt>
                <c:pt idx="12">
                  <c:v>-0.008279052640387974</c:v>
                </c:pt>
                <c:pt idx="13">
                  <c:v>-0.008279052640387974</c:v>
                </c:pt>
                <c:pt idx="14">
                  <c:v>-0.024395675051013477</c:v>
                </c:pt>
                <c:pt idx="15">
                  <c:v>-0.019537506354459055</c:v>
                </c:pt>
                <c:pt idx="16">
                  <c:v>-0.009189290854306642</c:v>
                </c:pt>
                <c:pt idx="17">
                  <c:v>0.004879873420853498</c:v>
                </c:pt>
                <c:pt idx="18">
                  <c:v>0.005207173506218243</c:v>
                </c:pt>
                <c:pt idx="19">
                  <c:v>0.005207173506218243</c:v>
                </c:pt>
                <c:pt idx="20">
                  <c:v>0.005207173506218243</c:v>
                </c:pt>
                <c:pt idx="21">
                  <c:v>0.006821614530309272</c:v>
                </c:pt>
                <c:pt idx="22">
                  <c:v>-0.008290779039588747</c:v>
                </c:pt>
                <c:pt idx="23">
                  <c:v>-0.008938839416070099</c:v>
                </c:pt>
                <c:pt idx="24">
                  <c:v>-0.013521879861441932</c:v>
                </c:pt>
                <c:pt idx="25">
                  <c:v>-0.00508845552862025</c:v>
                </c:pt>
                <c:pt idx="26">
                  <c:v>-0.00508845552862025</c:v>
                </c:pt>
                <c:pt idx="27">
                  <c:v>-0.00508845552862025</c:v>
                </c:pt>
                <c:pt idx="28">
                  <c:v>-0.016951937258319894</c:v>
                </c:pt>
                <c:pt idx="29">
                  <c:v>-0.0008543810055408052</c:v>
                </c:pt>
                <c:pt idx="30">
                  <c:v>0.007082295368917801</c:v>
                </c:pt>
                <c:pt idx="31">
                  <c:v>0.01890458310968679</c:v>
                </c:pt>
                <c:pt idx="32">
                  <c:v>0.020368424217804826</c:v>
                </c:pt>
                <c:pt idx="33">
                  <c:v>0.020368424217804826</c:v>
                </c:pt>
                <c:pt idx="34">
                  <c:v>0.020368424217804826</c:v>
                </c:pt>
                <c:pt idx="35">
                  <c:v>0.01820690182090945</c:v>
                </c:pt>
                <c:pt idx="36">
                  <c:v>0.013980097684383352</c:v>
                </c:pt>
                <c:pt idx="37">
                  <c:v>0.01606124837955769</c:v>
                </c:pt>
                <c:pt idx="38">
                  <c:v>0.02325988051956096</c:v>
                </c:pt>
                <c:pt idx="39">
                  <c:v>0.032849779327255524</c:v>
                </c:pt>
                <c:pt idx="40">
                  <c:v>0.032849779327255524</c:v>
                </c:pt>
                <c:pt idx="41">
                  <c:v>0.032849779327255524</c:v>
                </c:pt>
                <c:pt idx="42">
                  <c:v>0.051335690028731173</c:v>
                </c:pt>
                <c:pt idx="43">
                  <c:v>0.04516545956514384</c:v>
                </c:pt>
                <c:pt idx="44">
                  <c:v>0.053341243357455825</c:v>
                </c:pt>
                <c:pt idx="45">
                  <c:v>0.057149079785602686</c:v>
                </c:pt>
                <c:pt idx="46">
                  <c:v>0.056591289089381824</c:v>
                </c:pt>
                <c:pt idx="47">
                  <c:v>0.056591289089381824</c:v>
                </c:pt>
                <c:pt idx="48">
                  <c:v>0.056591289089381824</c:v>
                </c:pt>
                <c:pt idx="49">
                  <c:v>0.06108757470229542</c:v>
                </c:pt>
                <c:pt idx="50">
                  <c:v>0.062201460461980274</c:v>
                </c:pt>
                <c:pt idx="51">
                  <c:v>0.05906103941302643</c:v>
                </c:pt>
                <c:pt idx="52">
                  <c:v>0.07280285449589163</c:v>
                </c:pt>
                <c:pt idx="53">
                  <c:v>0.0714962123848848</c:v>
                </c:pt>
                <c:pt idx="54">
                  <c:v>0.0714962123848848</c:v>
                </c:pt>
                <c:pt idx="55">
                  <c:v>0.0714962123848848</c:v>
                </c:pt>
                <c:pt idx="56">
                  <c:v>0.07820156721211302</c:v>
                </c:pt>
                <c:pt idx="57">
                  <c:v>0.08078374263472643</c:v>
                </c:pt>
                <c:pt idx="58">
                  <c:v>0.08876963919308034</c:v>
                </c:pt>
                <c:pt idx="59">
                  <c:v>0.09169782757645373</c:v>
                </c:pt>
                <c:pt idx="60">
                  <c:v>0.0969060409281075</c:v>
                </c:pt>
                <c:pt idx="61">
                  <c:v>0.0969060409281075</c:v>
                </c:pt>
                <c:pt idx="62">
                  <c:v>0.0969060409281075</c:v>
                </c:pt>
                <c:pt idx="63">
                  <c:v>0.10320422783155525</c:v>
                </c:pt>
                <c:pt idx="64">
                  <c:v>0.09991593410373878</c:v>
                </c:pt>
                <c:pt idx="65">
                  <c:v>0.09167010986493085</c:v>
                </c:pt>
                <c:pt idx="66">
                  <c:v>0.09599611292909827</c:v>
                </c:pt>
                <c:pt idx="67">
                  <c:v>0.10290212972587187</c:v>
                </c:pt>
                <c:pt idx="68">
                  <c:v>0.10290212972587187</c:v>
                </c:pt>
                <c:pt idx="69">
                  <c:v>0.10290212972587187</c:v>
                </c:pt>
                <c:pt idx="70">
                  <c:v>0.10371772317995753</c:v>
                </c:pt>
                <c:pt idx="71">
                  <c:v>0.10686483608330821</c:v>
                </c:pt>
                <c:pt idx="72">
                  <c:v>0.10677564176292109</c:v>
                </c:pt>
                <c:pt idx="73">
                  <c:v>0.11046882165338756</c:v>
                </c:pt>
                <c:pt idx="74">
                  <c:v>0.1074800627101471</c:v>
                </c:pt>
                <c:pt idx="75">
                  <c:v>0.1074800627101471</c:v>
                </c:pt>
                <c:pt idx="76">
                  <c:v>0.1074800627101471</c:v>
                </c:pt>
                <c:pt idx="77">
                  <c:v>0.10078959390345266</c:v>
                </c:pt>
                <c:pt idx="78">
                  <c:v>0.09975246029020801</c:v>
                </c:pt>
                <c:pt idx="79">
                  <c:v>0.10279486932399173</c:v>
                </c:pt>
                <c:pt idx="80">
                  <c:v>0.10707898244588088</c:v>
                </c:pt>
                <c:pt idx="81">
                  <c:v>0.08177178465731294</c:v>
                </c:pt>
                <c:pt idx="82">
                  <c:v>0.08177178465731294</c:v>
                </c:pt>
                <c:pt idx="83">
                  <c:v>0.08177178465731294</c:v>
                </c:pt>
                <c:pt idx="84">
                  <c:v>0.09370949527977612</c:v>
                </c:pt>
                <c:pt idx="85">
                  <c:v>0.07947924045286858</c:v>
                </c:pt>
                <c:pt idx="86">
                  <c:v>0.0692549151509585</c:v>
                </c:pt>
                <c:pt idx="87">
                  <c:v>0.08490635705858951</c:v>
                </c:pt>
                <c:pt idx="88">
                  <c:v>0.0764203772110077</c:v>
                </c:pt>
                <c:pt idx="89">
                  <c:v>0.0764203772110077</c:v>
                </c:pt>
                <c:pt idx="90">
                  <c:v>0.0764203772110077</c:v>
                </c:pt>
                <c:pt idx="91">
                  <c:v>0.08684379892595495</c:v>
                </c:pt>
                <c:pt idx="92">
                  <c:v>0.09768935952803726</c:v>
                </c:pt>
                <c:pt idx="93">
                  <c:v>0.09023138665431363</c:v>
                </c:pt>
                <c:pt idx="94">
                  <c:v>0.07275054024752925</c:v>
                </c:pt>
                <c:pt idx="95">
                  <c:v>7.824263457534286e-05</c:v>
                </c:pt>
                <c:pt idx="96">
                  <c:v>7.824263457534286e-05</c:v>
                </c:pt>
                <c:pt idx="97">
                  <c:v>7.824263457534286e-05</c:v>
                </c:pt>
                <c:pt idx="98">
                  <c:v>-0.012735694756696225</c:v>
                </c:pt>
                <c:pt idx="99">
                  <c:v>-0.00776237346424602</c:v>
                </c:pt>
                <c:pt idx="100">
                  <c:v>0.011177132140811175</c:v>
                </c:pt>
                <c:pt idx="101">
                  <c:v>0.010537375357184242</c:v>
                </c:pt>
                <c:pt idx="102">
                  <c:v>0.0030784171020512563</c:v>
                </c:pt>
                <c:pt idx="103">
                  <c:v>0.0030784171020512563</c:v>
                </c:pt>
                <c:pt idx="104">
                  <c:v>0.0030784171020512563</c:v>
                </c:pt>
                <c:pt idx="105">
                  <c:v>0.0035941819694276234</c:v>
                </c:pt>
                <c:pt idx="106">
                  <c:v>0.015028820343117033</c:v>
                </c:pt>
                <c:pt idx="107">
                  <c:v>0.024431399776502438</c:v>
                </c:pt>
                <c:pt idx="108">
                  <c:v>0.03492169833716452</c:v>
                </c:pt>
                <c:pt idx="109">
                  <c:v>0.03639378637076085</c:v>
                </c:pt>
                <c:pt idx="110">
                  <c:v>0.03639378637076085</c:v>
                </c:pt>
                <c:pt idx="111">
                  <c:v>0.03639378637076085</c:v>
                </c:pt>
                <c:pt idx="112">
                  <c:v>0.04563799722473072</c:v>
                </c:pt>
                <c:pt idx="113">
                  <c:v>0.048592027875263843</c:v>
                </c:pt>
                <c:pt idx="114">
                  <c:v>0.05009066210574731</c:v>
                </c:pt>
                <c:pt idx="115">
                  <c:v>0.05091895849108008</c:v>
                </c:pt>
                <c:pt idx="116">
                  <c:v>0.05029085431274649</c:v>
                </c:pt>
                <c:pt idx="117">
                  <c:v>0.05029085431274649</c:v>
                </c:pt>
                <c:pt idx="118">
                  <c:v>0.05029085431274649</c:v>
                </c:pt>
                <c:pt idx="119">
                  <c:v>0.056002959137527286</c:v>
                </c:pt>
                <c:pt idx="120">
                  <c:v>0.05580054333360729</c:v>
                </c:pt>
                <c:pt idx="121">
                  <c:v>0.04135601637484454</c:v>
                </c:pt>
                <c:pt idx="122">
                  <c:v>0.04241341226846096</c:v>
                </c:pt>
                <c:pt idx="123">
                  <c:v>0.04256315828733914</c:v>
                </c:pt>
                <c:pt idx="124">
                  <c:v>0.04256315828733914</c:v>
                </c:pt>
                <c:pt idx="125">
                  <c:v>0.04256315828733914</c:v>
                </c:pt>
                <c:pt idx="126">
                  <c:v>0.03933815330952983</c:v>
                </c:pt>
                <c:pt idx="127">
                  <c:v>0.0604199607102458</c:v>
                </c:pt>
                <c:pt idx="128">
                  <c:v>0.06666478446237556</c:v>
                </c:pt>
                <c:pt idx="129">
                  <c:v>0.056381408664023525</c:v>
                </c:pt>
                <c:pt idx="130">
                  <c:v>0.06671523718118055</c:v>
                </c:pt>
                <c:pt idx="131">
                  <c:v>0.06671523718118055</c:v>
                </c:pt>
                <c:pt idx="132">
                  <c:v>0.06671523718118055</c:v>
                </c:pt>
                <c:pt idx="133">
                  <c:v>0.06598335353353346</c:v>
                </c:pt>
                <c:pt idx="134">
                  <c:v>0.05476266691030052</c:v>
                </c:pt>
                <c:pt idx="135">
                  <c:v>0.04927642261380072</c:v>
                </c:pt>
                <c:pt idx="136">
                  <c:v>0.04397810995494966</c:v>
                </c:pt>
                <c:pt idx="137">
                  <c:v>0.03378064445327422</c:v>
                </c:pt>
                <c:pt idx="138">
                  <c:v>0.03378064445327422</c:v>
                </c:pt>
                <c:pt idx="139">
                  <c:v>0.03378064445327422</c:v>
                </c:pt>
                <c:pt idx="140">
                  <c:v>0.03513885079786183</c:v>
                </c:pt>
                <c:pt idx="141">
                  <c:v>0.02879860710232185</c:v>
                </c:pt>
                <c:pt idx="142">
                  <c:v>0.029483190223246858</c:v>
                </c:pt>
                <c:pt idx="143">
                  <c:v>0.026952092959151353</c:v>
                </c:pt>
                <c:pt idx="144">
                  <c:v>0.053499132005792704</c:v>
                </c:pt>
                <c:pt idx="145">
                  <c:v>0.053499132005792704</c:v>
                </c:pt>
                <c:pt idx="146">
                  <c:v>0.053499132005792704</c:v>
                </c:pt>
                <c:pt idx="147">
                  <c:v>0.08322504545762088</c:v>
                </c:pt>
                <c:pt idx="148">
                  <c:v>0.09794068230789477</c:v>
                </c:pt>
                <c:pt idx="149">
                  <c:v>0.10492195629483825</c:v>
                </c:pt>
                <c:pt idx="150">
                  <c:v>0.08816600711251299</c:v>
                </c:pt>
                <c:pt idx="151">
                  <c:v>0.09946914974958276</c:v>
                </c:pt>
                <c:pt idx="152">
                  <c:v>0.09946914974958276</c:v>
                </c:pt>
                <c:pt idx="153">
                  <c:v>0.09946914974958276</c:v>
                </c:pt>
                <c:pt idx="154">
                  <c:v>0.10235689314131324</c:v>
                </c:pt>
                <c:pt idx="155">
                  <c:v>0.11335958899455023</c:v>
                </c:pt>
                <c:pt idx="156">
                  <c:v>0.13821356575162613</c:v>
                </c:pt>
                <c:pt idx="157">
                  <c:v>0.12176208665920951</c:v>
                </c:pt>
                <c:pt idx="158">
                  <c:v>0.10989806917338019</c:v>
                </c:pt>
                <c:pt idx="159">
                  <c:v>0.10989806917338019</c:v>
                </c:pt>
                <c:pt idx="160">
                  <c:v>0.10989806917338019</c:v>
                </c:pt>
                <c:pt idx="161">
                  <c:v>0.11473457321266878</c:v>
                </c:pt>
                <c:pt idx="162">
                  <c:v>0.1314000294937283</c:v>
                </c:pt>
                <c:pt idx="163">
                  <c:v>0.10128562995943557</c:v>
                </c:pt>
                <c:pt idx="164">
                  <c:v>0.06109896172629692</c:v>
                </c:pt>
                <c:pt idx="165">
                  <c:v>0.027329215415462516</c:v>
                </c:pt>
                <c:pt idx="166">
                  <c:v>0.027329215415462516</c:v>
                </c:pt>
                <c:pt idx="167">
                  <c:v>0.027329215415462516</c:v>
                </c:pt>
                <c:pt idx="168">
                  <c:v>0.023558972015493618</c:v>
                </c:pt>
                <c:pt idx="169">
                  <c:v>0.017427421432014256</c:v>
                </c:pt>
                <c:pt idx="170">
                  <c:v>0.009194976670774402</c:v>
                </c:pt>
                <c:pt idx="171">
                  <c:v>0.014341930399044411</c:v>
                </c:pt>
                <c:pt idx="172">
                  <c:v>0.040387555646049345</c:v>
                </c:pt>
                <c:pt idx="173">
                  <c:v>0.040387555646049345</c:v>
                </c:pt>
                <c:pt idx="174">
                  <c:v>0.040387555646049345</c:v>
                </c:pt>
                <c:pt idx="175">
                  <c:v>0.026435722241440418</c:v>
                </c:pt>
                <c:pt idx="176">
                  <c:v>0.018078139263163928</c:v>
                </c:pt>
                <c:pt idx="177">
                  <c:v>0.035436490677877464</c:v>
                </c:pt>
                <c:pt idx="178">
                  <c:v>0.026683546675880798</c:v>
                </c:pt>
                <c:pt idx="179">
                  <c:v>0.020210884182737532</c:v>
                </c:pt>
                <c:pt idx="180">
                  <c:v>0.020210884182737532</c:v>
                </c:pt>
                <c:pt idx="181">
                  <c:v>0.020210884182737532</c:v>
                </c:pt>
                <c:pt idx="182">
                  <c:v>-0.006721385397985058</c:v>
                </c:pt>
                <c:pt idx="183">
                  <c:v>-0.009021682440869538</c:v>
                </c:pt>
                <c:pt idx="184">
                  <c:v>0.020171807434749445</c:v>
                </c:pt>
                <c:pt idx="185">
                  <c:v>0.017330419861093516</c:v>
                </c:pt>
                <c:pt idx="186">
                  <c:v>0.006863290893398988</c:v>
                </c:pt>
                <c:pt idx="187">
                  <c:v>0.006863290893398988</c:v>
                </c:pt>
                <c:pt idx="188">
                  <c:v>0.006863290893398988</c:v>
                </c:pt>
                <c:pt idx="189">
                  <c:v>0.0016791805639908564</c:v>
                </c:pt>
                <c:pt idx="190">
                  <c:v>0.0185892472264082</c:v>
                </c:pt>
                <c:pt idx="191">
                  <c:v>0.0225047229307076</c:v>
                </c:pt>
                <c:pt idx="192">
                  <c:v>0.034756557170871005</c:v>
                </c:pt>
                <c:pt idx="193">
                  <c:v>0.04722235897955973</c:v>
                </c:pt>
                <c:pt idx="194">
                  <c:v>0.04722235897955973</c:v>
                </c:pt>
                <c:pt idx="195">
                  <c:v>0.04722235897955973</c:v>
                </c:pt>
                <c:pt idx="196">
                  <c:v>0.040685422374915126</c:v>
                </c:pt>
                <c:pt idx="197">
                  <c:v>0.05258263158144616</c:v>
                </c:pt>
                <c:pt idx="198">
                  <c:v>0.036543496124750385</c:v>
                </c:pt>
                <c:pt idx="199">
                  <c:v>0.05688034137379128</c:v>
                </c:pt>
                <c:pt idx="200">
                  <c:v>0.06147527096346095</c:v>
                </c:pt>
                <c:pt idx="201">
                  <c:v>0.06147527096346095</c:v>
                </c:pt>
                <c:pt idx="202">
                  <c:v>0.06147527096346095</c:v>
                </c:pt>
                <c:pt idx="203">
                  <c:v>0.0695689895082876</c:v>
                </c:pt>
                <c:pt idx="204">
                  <c:v>0.08778166391243891</c:v>
                </c:pt>
                <c:pt idx="205">
                  <c:v>0.08737960018068658</c:v>
                </c:pt>
                <c:pt idx="206">
                  <c:v>0.06898608050770161</c:v>
                </c:pt>
                <c:pt idx="207">
                  <c:v>0.07948175690623116</c:v>
                </c:pt>
                <c:pt idx="208">
                  <c:v>0.07948175690623116</c:v>
                </c:pt>
                <c:pt idx="209">
                  <c:v>0.07948175690623116</c:v>
                </c:pt>
                <c:pt idx="210">
                  <c:v>0.08529304076484312</c:v>
                </c:pt>
                <c:pt idx="211">
                  <c:v>0.04661517023401962</c:v>
                </c:pt>
                <c:pt idx="212">
                  <c:v>0.03467911944605273</c:v>
                </c:pt>
                <c:pt idx="213">
                  <c:v>0.036307142561873285</c:v>
                </c:pt>
                <c:pt idx="214">
                  <c:v>0.03456450999903926</c:v>
                </c:pt>
                <c:pt idx="215">
                  <c:v>0.03456450999903926</c:v>
                </c:pt>
                <c:pt idx="216">
                  <c:v>0.03456450999903926</c:v>
                </c:pt>
                <c:pt idx="217">
                  <c:v>0.01884173779987819</c:v>
                </c:pt>
                <c:pt idx="218">
                  <c:v>0.01227235242594138</c:v>
                </c:pt>
                <c:pt idx="219">
                  <c:v>0.01923641766672146</c:v>
                </c:pt>
                <c:pt idx="220">
                  <c:v>0.0073251663936648725</c:v>
                </c:pt>
                <c:pt idx="221">
                  <c:v>0.0072868727028214675</c:v>
                </c:pt>
                <c:pt idx="222">
                  <c:v>0.0072868727028214675</c:v>
                </c:pt>
                <c:pt idx="223">
                  <c:v>0.0072868727028214675</c:v>
                </c:pt>
                <c:pt idx="224">
                  <c:v>0.014218378993803515</c:v>
                </c:pt>
                <c:pt idx="225">
                  <c:v>0.02586668890187438</c:v>
                </c:pt>
                <c:pt idx="226">
                  <c:v>0.0188162439869064</c:v>
                </c:pt>
                <c:pt idx="227">
                  <c:v>0.0015425719413710848</c:v>
                </c:pt>
                <c:pt idx="228">
                  <c:v>-0.013055102560350362</c:v>
                </c:pt>
                <c:pt idx="229">
                  <c:v>-0.013055102560350362</c:v>
                </c:pt>
                <c:pt idx="230">
                  <c:v>-0.013055102560350362</c:v>
                </c:pt>
                <c:pt idx="231">
                  <c:v>-0.04970201311552602</c:v>
                </c:pt>
                <c:pt idx="232">
                  <c:v>-0.07295789331095148</c:v>
                </c:pt>
                <c:pt idx="233">
                  <c:v>-0.06436990828520861</c:v>
                </c:pt>
                <c:pt idx="234">
                  <c:v>-0.04359728769831617</c:v>
                </c:pt>
                <c:pt idx="235">
                  <c:v>-0.06978050257794166</c:v>
                </c:pt>
                <c:pt idx="236">
                  <c:v>-0.06978050257794166</c:v>
                </c:pt>
                <c:pt idx="237">
                  <c:v>-0.06978050257794166</c:v>
                </c:pt>
                <c:pt idx="238">
                  <c:v>-0.06640415755920093</c:v>
                </c:pt>
                <c:pt idx="239">
                  <c:v>-0.05999754038384464</c:v>
                </c:pt>
                <c:pt idx="240">
                  <c:v>-0.04591699024775864</c:v>
                </c:pt>
                <c:pt idx="241">
                  <c:v>-0.07436620296688312</c:v>
                </c:pt>
                <c:pt idx="242">
                  <c:v>-0.08061517943394014</c:v>
                </c:pt>
                <c:pt idx="243">
                  <c:v>-0.08061517943394014</c:v>
                </c:pt>
                <c:pt idx="244">
                  <c:v>-0.08061517943394014</c:v>
                </c:pt>
                <c:pt idx="245">
                  <c:v>-0.11110182967792437</c:v>
                </c:pt>
                <c:pt idx="246">
                  <c:v>-0.10578122746666307</c:v>
                </c:pt>
                <c:pt idx="247">
                  <c:v>-0.11590283534555423</c:v>
                </c:pt>
                <c:pt idx="248">
                  <c:v>-0.11818069279306798</c:v>
                </c:pt>
                <c:pt idx="249">
                  <c:v>-0.09359889191105764</c:v>
                </c:pt>
                <c:pt idx="250">
                  <c:v>-0.09359889191105764</c:v>
                </c:pt>
                <c:pt idx="251">
                  <c:v>-0.09359889191105764</c:v>
                </c:pt>
                <c:pt idx="252">
                  <c:v>-0.10331987398768527</c:v>
                </c:pt>
                <c:pt idx="253">
                  <c:v>-0.080152613346262</c:v>
                </c:pt>
                <c:pt idx="254">
                  <c:v>-0.11304639060898936</c:v>
                </c:pt>
                <c:pt idx="255">
                  <c:v>-0.11022527706681595</c:v>
                </c:pt>
                <c:pt idx="256">
                  <c:v>-0.10726105107205952</c:v>
                </c:pt>
                <c:pt idx="257">
                  <c:v>-0.10726105107205952</c:v>
                </c:pt>
                <c:pt idx="258">
                  <c:v>-0.10726105107205952</c:v>
                </c:pt>
                <c:pt idx="259">
                  <c:v>-0.09206938484325944</c:v>
                </c:pt>
                <c:pt idx="260">
                  <c:v>-0.0954727072420809</c:v>
                </c:pt>
                <c:pt idx="261">
                  <c:v>-0.08745626366098957</c:v>
                </c:pt>
                <c:pt idx="262">
                  <c:v>-0.07152118109463845</c:v>
                </c:pt>
                <c:pt idx="263">
                  <c:v>-0.05082762119860629</c:v>
                </c:pt>
                <c:pt idx="264">
                  <c:v>-0.05082762119860629</c:v>
                </c:pt>
                <c:pt idx="265">
                  <c:v>-0.05082762119860629</c:v>
                </c:pt>
                <c:pt idx="266">
                  <c:v>-0.050543431629655466</c:v>
                </c:pt>
                <c:pt idx="267">
                  <c:v>-0.054603102977218265</c:v>
                </c:pt>
                <c:pt idx="268">
                  <c:v>-0.05995742120564185</c:v>
                </c:pt>
                <c:pt idx="269">
                  <c:v>-0.03970088286198603</c:v>
                </c:pt>
                <c:pt idx="270">
                  <c:v>-0.06129386067835296</c:v>
                </c:pt>
                <c:pt idx="271">
                  <c:v>-0.06129386067835296</c:v>
                </c:pt>
                <c:pt idx="272">
                  <c:v>-0.06129386067835296</c:v>
                </c:pt>
                <c:pt idx="273">
                  <c:v>-0.06539458251231478</c:v>
                </c:pt>
                <c:pt idx="274">
                  <c:v>-0.06563562216210928</c:v>
                </c:pt>
                <c:pt idx="275">
                  <c:v>-0.0784832012070712</c:v>
                </c:pt>
                <c:pt idx="276">
                  <c:v>-0.09767987883267948</c:v>
                </c:pt>
                <c:pt idx="277">
                  <c:v>-0.11690490711965429</c:v>
                </c:pt>
                <c:pt idx="278">
                  <c:v>-0.11690490711965429</c:v>
                </c:pt>
                <c:pt idx="279">
                  <c:v>-0.11690490711965429</c:v>
                </c:pt>
                <c:pt idx="280">
                  <c:v>-0.14480439101271392</c:v>
                </c:pt>
                <c:pt idx="281">
                  <c:v>-0.15555200387321333</c:v>
                </c:pt>
                <c:pt idx="282">
                  <c:v>-0.14196911206453555</c:v>
                </c:pt>
                <c:pt idx="283">
                  <c:v>-0.1659044368335837</c:v>
                </c:pt>
                <c:pt idx="284">
                  <c:v>-0.1656953329554618</c:v>
                </c:pt>
                <c:pt idx="285">
                  <c:v>-0.1656953329554618</c:v>
                </c:pt>
                <c:pt idx="286">
                  <c:v>-0.1656953329554618</c:v>
                </c:pt>
                <c:pt idx="287">
                  <c:v>-0.16190552275655168</c:v>
                </c:pt>
                <c:pt idx="288">
                  <c:v>-0.14557577172260616</c:v>
                </c:pt>
                <c:pt idx="289">
                  <c:v>-0.14931929909658304</c:v>
                </c:pt>
                <c:pt idx="290">
                  <c:v>-0.14200750724842226</c:v>
                </c:pt>
                <c:pt idx="291">
                  <c:v>-0.11595981780414755</c:v>
                </c:pt>
                <c:pt idx="292">
                  <c:v>-0.11595981780414755</c:v>
                </c:pt>
                <c:pt idx="293">
                  <c:v>-0.11595981780414755</c:v>
                </c:pt>
                <c:pt idx="294">
                  <c:v>-0.11741089674465532</c:v>
                </c:pt>
                <c:pt idx="295">
                  <c:v>-0.1290649312358434</c:v>
                </c:pt>
                <c:pt idx="296">
                  <c:v>-0.1302167841735905</c:v>
                </c:pt>
                <c:pt idx="297">
                  <c:v>-0.13649962042064367</c:v>
                </c:pt>
                <c:pt idx="298">
                  <c:v>-0.14186124421479285</c:v>
                </c:pt>
                <c:pt idx="299">
                  <c:v>-0.14186124421479285</c:v>
                </c:pt>
                <c:pt idx="300">
                  <c:v>-0.14186124421479285</c:v>
                </c:pt>
                <c:pt idx="301">
                  <c:v>-0.15309127118825927</c:v>
                </c:pt>
                <c:pt idx="302">
                  <c:v>-0.16237394336397726</c:v>
                </c:pt>
                <c:pt idx="303">
                  <c:v>-0.16117975065910517</c:v>
                </c:pt>
                <c:pt idx="304">
                  <c:v>-0.1617762221872464</c:v>
                </c:pt>
                <c:pt idx="305">
                  <c:v>-0.16135441732504785</c:v>
                </c:pt>
                <c:pt idx="306">
                  <c:v>-0.16135441732504785</c:v>
                </c:pt>
                <c:pt idx="307">
                  <c:v>-0.16135441732504785</c:v>
                </c:pt>
                <c:pt idx="308">
                  <c:v>-0.1768983825948819</c:v>
                </c:pt>
                <c:pt idx="309">
                  <c:v>-0.17676827651319715</c:v>
                </c:pt>
                <c:pt idx="310">
                  <c:v>-0.17962384875277682</c:v>
                </c:pt>
                <c:pt idx="311">
                  <c:v>-0.1846871077905996</c:v>
                </c:pt>
                <c:pt idx="312">
                  <c:v>-0.16897282074709818</c:v>
                </c:pt>
                <c:pt idx="313">
                  <c:v>-0.16897282074709818</c:v>
                </c:pt>
                <c:pt idx="314">
                  <c:v>-0.16897282074709818</c:v>
                </c:pt>
                <c:pt idx="315">
                  <c:v>-0.17187421225311783</c:v>
                </c:pt>
                <c:pt idx="316">
                  <c:v>-0.14955819172321738</c:v>
                </c:pt>
                <c:pt idx="317">
                  <c:v>-0.1466635701552248</c:v>
                </c:pt>
                <c:pt idx="318">
                  <c:v>-0.1376952450625013</c:v>
                </c:pt>
                <c:pt idx="319">
                  <c:v>-0.14316040073282332</c:v>
                </c:pt>
                <c:pt idx="320">
                  <c:v>-0.14316040073282332</c:v>
                </c:pt>
                <c:pt idx="321">
                  <c:v>-0.14316040073282332</c:v>
                </c:pt>
                <c:pt idx="322">
                  <c:v>-0.14373695607005788</c:v>
                </c:pt>
                <c:pt idx="323">
                  <c:v>-0.15852586477356112</c:v>
                </c:pt>
                <c:pt idx="324">
                  <c:v>-0.11260575224488656</c:v>
                </c:pt>
                <c:pt idx="325">
                  <c:v>-0.10239689301652954</c:v>
                </c:pt>
                <c:pt idx="326">
                  <c:v>-0.1181309165335912</c:v>
                </c:pt>
                <c:pt idx="327">
                  <c:v>-0.1181309165335912</c:v>
                </c:pt>
                <c:pt idx="328">
                  <c:v>-0.1181309165335912</c:v>
                </c:pt>
                <c:pt idx="329">
                  <c:v>-0.11918908537379946</c:v>
                </c:pt>
                <c:pt idx="330">
                  <c:v>-0.12370840067381816</c:v>
                </c:pt>
                <c:pt idx="331">
                  <c:v>-0.1365051013689561</c:v>
                </c:pt>
                <c:pt idx="332">
                  <c:v>-0.13186408842915498</c:v>
                </c:pt>
                <c:pt idx="333">
                  <c:v>-0.1328137919569813</c:v>
                </c:pt>
                <c:pt idx="334">
                  <c:v>-0.1328137919569813</c:v>
                </c:pt>
                <c:pt idx="335">
                  <c:v>-0.1328137919569813</c:v>
                </c:pt>
                <c:pt idx="336">
                  <c:v>-0.12486702762797819</c:v>
                </c:pt>
                <c:pt idx="337">
                  <c:v>-0.1402403402675355</c:v>
                </c:pt>
                <c:pt idx="338">
                  <c:v>-0.11706899152996819</c:v>
                </c:pt>
                <c:pt idx="339">
                  <c:v>-0.11900230334721229</c:v>
                </c:pt>
                <c:pt idx="340">
                  <c:v>-0.1033138561020236</c:v>
                </c:pt>
                <c:pt idx="341">
                  <c:v>-0.1033138561020236</c:v>
                </c:pt>
                <c:pt idx="342">
                  <c:v>-0.1033138561020236</c:v>
                </c:pt>
                <c:pt idx="343">
                  <c:v>-0.1029137992749376</c:v>
                </c:pt>
                <c:pt idx="344">
                  <c:v>-0.10195412588495023</c:v>
                </c:pt>
                <c:pt idx="345">
                  <c:v>-0.10861119323674284</c:v>
                </c:pt>
                <c:pt idx="346">
                  <c:v>-0.1079423368464495</c:v>
                </c:pt>
                <c:pt idx="347">
                  <c:v>-0.12006233657890408</c:v>
                </c:pt>
                <c:pt idx="348">
                  <c:v>-0.12006233657890408</c:v>
                </c:pt>
                <c:pt idx="349">
                  <c:v>-0.12006233657890408</c:v>
                </c:pt>
                <c:pt idx="350">
                  <c:v>-0.1352162959022858</c:v>
                </c:pt>
                <c:pt idx="351">
                  <c:v>-0.1364456077101337</c:v>
                </c:pt>
                <c:pt idx="352">
                  <c:v>-0.1321187738170928</c:v>
                </c:pt>
                <c:pt idx="353">
                  <c:v>-0.12129958985614953</c:v>
                </c:pt>
                <c:pt idx="354">
                  <c:v>-0.1476965282878112</c:v>
                </c:pt>
                <c:pt idx="355">
                  <c:v>-0.1476965282878112</c:v>
                </c:pt>
                <c:pt idx="356">
                  <c:v>-0.1476965282878112</c:v>
                </c:pt>
                <c:pt idx="357">
                  <c:v>-0.1474850502972076</c:v>
                </c:pt>
                <c:pt idx="358">
                  <c:v>-0.165322444132462</c:v>
                </c:pt>
                <c:pt idx="359">
                  <c:v>-0.17593283868416287</c:v>
                </c:pt>
                <c:pt idx="360">
                  <c:v>-0.18555056773799472</c:v>
                </c:pt>
                <c:pt idx="361">
                  <c:v>-0.21839651126578186</c:v>
                </c:pt>
                <c:pt idx="362">
                  <c:v>-0.21839651126578186</c:v>
                </c:pt>
                <c:pt idx="363">
                  <c:v>-0.21839651126578186</c:v>
                </c:pt>
                <c:pt idx="364">
                  <c:v>-0.21571275485849373</c:v>
                </c:pt>
                <c:pt idx="365">
                  <c:v>-0.21922883500971158</c:v>
                </c:pt>
                <c:pt idx="366">
                  <c:v>-0.20679875822497018</c:v>
                </c:pt>
                <c:pt idx="367">
                  <c:v>-0.20100940905285092</c:v>
                </c:pt>
                <c:pt idx="368">
                  <c:v>-0.18410534614738272</c:v>
                </c:pt>
                <c:pt idx="369">
                  <c:v>-0.18410534614738272</c:v>
                </c:pt>
                <c:pt idx="370">
                  <c:v>-0.18410534614738272</c:v>
                </c:pt>
                <c:pt idx="371">
                  <c:v>-0.17887819206105382</c:v>
                </c:pt>
                <c:pt idx="372">
                  <c:v>-0.20500232208743352</c:v>
                </c:pt>
                <c:pt idx="373">
                  <c:v>-0.20102687343525083</c:v>
                </c:pt>
                <c:pt idx="374">
                  <c:v>-0.20772932489097107</c:v>
                </c:pt>
                <c:pt idx="375">
                  <c:v>-0.21401463494609319</c:v>
                </c:pt>
                <c:pt idx="376">
                  <c:v>-0.21401463494609319</c:v>
                </c:pt>
                <c:pt idx="377">
                  <c:v>-0.21401463494609319</c:v>
                </c:pt>
                <c:pt idx="378">
                  <c:v>-0.2253862220445041</c:v>
                </c:pt>
                <c:pt idx="379">
                  <c:v>-0.21497206702741556</c:v>
                </c:pt>
                <c:pt idx="380">
                  <c:v>-0.22008847133035514</c:v>
                </c:pt>
                <c:pt idx="381">
                  <c:v>-0.23125803635715592</c:v>
                </c:pt>
                <c:pt idx="382">
                  <c:v>-0.24870231903955753</c:v>
                </c:pt>
                <c:pt idx="383">
                  <c:v>-0.24870231903955753</c:v>
                </c:pt>
                <c:pt idx="384">
                  <c:v>-0.24870231903955753</c:v>
                </c:pt>
                <c:pt idx="385">
                  <c:v>-0.23670629615312844</c:v>
                </c:pt>
                <c:pt idx="386">
                  <c:v>-0.25742726996329046</c:v>
                </c:pt>
                <c:pt idx="387">
                  <c:v>-0.24169813991110667</c:v>
                </c:pt>
                <c:pt idx="388">
                  <c:v>-0.2535659408007499</c:v>
                </c:pt>
                <c:pt idx="389">
                  <c:v>-0.26178017344847515</c:v>
                </c:pt>
                <c:pt idx="390">
                  <c:v>-0.26178017344847515</c:v>
                </c:pt>
                <c:pt idx="391">
                  <c:v>-0.26178017344847515</c:v>
                </c:pt>
                <c:pt idx="392">
                  <c:v>-0.24400872478875868</c:v>
                </c:pt>
                <c:pt idx="393">
                  <c:v>-0.22132446627153857</c:v>
                </c:pt>
                <c:pt idx="394">
                  <c:v>-0.22177119102779896</c:v>
                </c:pt>
                <c:pt idx="395">
                  <c:v>-0.22832191103278487</c:v>
                </c:pt>
                <c:pt idx="396">
                  <c:v>-0.24846072539551123</c:v>
                </c:pt>
                <c:pt idx="397">
                  <c:v>-0.24846072539551123</c:v>
                </c:pt>
                <c:pt idx="398">
                  <c:v>-0.24846072539551123</c:v>
                </c:pt>
                <c:pt idx="399">
                  <c:v>-0.24976484184170966</c:v>
                </c:pt>
                <c:pt idx="400">
                  <c:v>-0.26049063747593726</c:v>
                </c:pt>
                <c:pt idx="401">
                  <c:v>-0.2621772754962778</c:v>
                </c:pt>
                <c:pt idx="402">
                  <c:v>-0.24340679887485495</c:v>
                </c:pt>
                <c:pt idx="403">
                  <c:v>-0.25796627190495014</c:v>
                </c:pt>
                <c:pt idx="404">
                  <c:v>-0.25796627190495014</c:v>
                </c:pt>
                <c:pt idx="405">
                  <c:v>-0.25796627190495014</c:v>
                </c:pt>
                <c:pt idx="406">
                  <c:v>-0.23861929996003473</c:v>
                </c:pt>
                <c:pt idx="407">
                  <c:v>-0.229980426754266</c:v>
                </c:pt>
                <c:pt idx="408">
                  <c:v>-0.23835512250162194</c:v>
                </c:pt>
                <c:pt idx="409">
                  <c:v>-0.2409749478792964</c:v>
                </c:pt>
                <c:pt idx="410">
                  <c:v>-0.2246797440982371</c:v>
                </c:pt>
                <c:pt idx="411">
                  <c:v>-0.2246797440982371</c:v>
                </c:pt>
                <c:pt idx="412">
                  <c:v>-0.2246797440982371</c:v>
                </c:pt>
                <c:pt idx="413">
                  <c:v>-0.22970480476057964</c:v>
                </c:pt>
                <c:pt idx="414">
                  <c:v>-0.20955664428677978</c:v>
                </c:pt>
                <c:pt idx="415">
                  <c:v>-0.20243409149559588</c:v>
                </c:pt>
                <c:pt idx="416">
                  <c:v>-0.2078541618473716</c:v>
                </c:pt>
                <c:pt idx="417">
                  <c:v>-0.19216774915873047</c:v>
                </c:pt>
                <c:pt idx="418">
                  <c:v>-0.19216774915873047</c:v>
                </c:pt>
                <c:pt idx="419">
                  <c:v>-0.19216774915873047</c:v>
                </c:pt>
                <c:pt idx="420">
                  <c:v>-0.19626467150642568</c:v>
                </c:pt>
                <c:pt idx="421">
                  <c:v>-0.18726559856321034</c:v>
                </c:pt>
                <c:pt idx="422">
                  <c:v>-0.21124237926482736</c:v>
                </c:pt>
                <c:pt idx="423">
                  <c:v>-0.2159583943386425</c:v>
                </c:pt>
                <c:pt idx="424">
                  <c:v>-0.1986308858641952</c:v>
                </c:pt>
                <c:pt idx="425">
                  <c:v>-0.1986308858641952</c:v>
                </c:pt>
                <c:pt idx="426">
                  <c:v>-0.1986308858641952</c:v>
                </c:pt>
                <c:pt idx="427">
                  <c:v>-0.19940331521687948</c:v>
                </c:pt>
                <c:pt idx="428">
                  <c:v>-0.18410394387535278</c:v>
                </c:pt>
                <c:pt idx="429">
                  <c:v>-0.19733244150939278</c:v>
                </c:pt>
                <c:pt idx="430">
                  <c:v>-0.1542988788257057</c:v>
                </c:pt>
                <c:pt idx="431">
                  <c:v>-0.13932894286348785</c:v>
                </c:pt>
                <c:pt idx="432">
                  <c:v>-0.13932894286348785</c:v>
                </c:pt>
                <c:pt idx="433">
                  <c:v>-0.13932894286348785</c:v>
                </c:pt>
                <c:pt idx="434">
                  <c:v>-0.1513386809572359</c:v>
                </c:pt>
                <c:pt idx="435">
                  <c:v>-0.13346879231445496</c:v>
                </c:pt>
                <c:pt idx="436">
                  <c:v>-0.13727370810302053</c:v>
                </c:pt>
                <c:pt idx="437">
                  <c:v>-0.13606103420323346</c:v>
                </c:pt>
                <c:pt idx="438">
                  <c:v>-0.13107816834903052</c:v>
                </c:pt>
                <c:pt idx="439">
                  <c:v>-0.13107816834903052</c:v>
                </c:pt>
                <c:pt idx="440">
                  <c:v>-0.13107816834903052</c:v>
                </c:pt>
                <c:pt idx="441">
                  <c:v>-0.1342284741940477</c:v>
                </c:pt>
                <c:pt idx="442">
                  <c:v>-0.1231312284691688</c:v>
                </c:pt>
                <c:pt idx="443">
                  <c:v>-0.11100282241650394</c:v>
                </c:pt>
                <c:pt idx="444">
                  <c:v>-0.10860213963813092</c:v>
                </c:pt>
                <c:pt idx="445">
                  <c:v>-0.10291155159961585</c:v>
                </c:pt>
                <c:pt idx="446">
                  <c:v>-0.10291155159961585</c:v>
                </c:pt>
                <c:pt idx="447">
                  <c:v>-0.10291155159961585</c:v>
                </c:pt>
                <c:pt idx="448">
                  <c:v>-0.1147218600548805</c:v>
                </c:pt>
                <c:pt idx="449">
                  <c:v>-0.10941052768278914</c:v>
                </c:pt>
                <c:pt idx="450">
                  <c:v>-0.08348453319502436</c:v>
                </c:pt>
                <c:pt idx="451">
                  <c:v>-0.07627258005382365</c:v>
                </c:pt>
                <c:pt idx="452">
                  <c:v>-0.07561582843669434</c:v>
                </c:pt>
                <c:pt idx="453">
                  <c:v>-0.07561582843669434</c:v>
                </c:pt>
                <c:pt idx="454">
                  <c:v>-0.07561582843669434</c:v>
                </c:pt>
                <c:pt idx="455">
                  <c:v>-0.08905196661384629</c:v>
                </c:pt>
                <c:pt idx="456">
                  <c:v>-0.09796395665461488</c:v>
                </c:pt>
                <c:pt idx="457">
                  <c:v>-0.09509020820353564</c:v>
                </c:pt>
                <c:pt idx="458">
                  <c:v>-0.08760065132531214</c:v>
                </c:pt>
                <c:pt idx="459">
                  <c:v>-0.08952284032694302</c:v>
                </c:pt>
                <c:pt idx="460">
                  <c:v>-0.08952284032694302</c:v>
                </c:pt>
                <c:pt idx="461">
                  <c:v>-0.08952284032694302</c:v>
                </c:pt>
                <c:pt idx="462">
                  <c:v>-0.07744027491310157</c:v>
                </c:pt>
                <c:pt idx="463">
                  <c:v>-0.06772691425135247</c:v>
                </c:pt>
                <c:pt idx="464">
                  <c:v>-0.06745874859185308</c:v>
                </c:pt>
                <c:pt idx="465">
                  <c:v>-0.08766409583333012</c:v>
                </c:pt>
                <c:pt idx="466">
                  <c:v>-0.09447334198083579</c:v>
                </c:pt>
                <c:pt idx="467">
                  <c:v>-0.09447334198083579</c:v>
                </c:pt>
                <c:pt idx="468">
                  <c:v>-0.09447334198083579</c:v>
                </c:pt>
                <c:pt idx="469">
                  <c:v>-0.09196969266453381</c:v>
                </c:pt>
                <c:pt idx="470">
                  <c:v>-0.09111674196500807</c:v>
                </c:pt>
                <c:pt idx="471">
                  <c:v>-0.0743459116387023</c:v>
                </c:pt>
                <c:pt idx="472">
                  <c:v>-0.08487496133744632</c:v>
                </c:pt>
                <c:pt idx="473">
                  <c:v>-0.08071378342000357</c:v>
                </c:pt>
                <c:pt idx="474">
                  <c:v>-0.08071378342000357</c:v>
                </c:pt>
                <c:pt idx="475">
                  <c:v>-0.08071378342000357</c:v>
                </c:pt>
                <c:pt idx="476">
                  <c:v>-0.07681986360784365</c:v>
                </c:pt>
                <c:pt idx="477">
                  <c:v>-0.07740614294977999</c:v>
                </c:pt>
                <c:pt idx="478">
                  <c:v>-0.08568512915557613</c:v>
                </c:pt>
                <c:pt idx="479">
                  <c:v>-0.0684477496974657</c:v>
                </c:pt>
                <c:pt idx="480">
                  <c:v>-0.06980046387429717</c:v>
                </c:pt>
                <c:pt idx="481">
                  <c:v>-0.06980046387429717</c:v>
                </c:pt>
                <c:pt idx="482">
                  <c:v>-0.06980046387429717</c:v>
                </c:pt>
                <c:pt idx="483">
                  <c:v>-0.06814148374337181</c:v>
                </c:pt>
                <c:pt idx="484">
                  <c:v>-0.06969572070773034</c:v>
                </c:pt>
                <c:pt idx="485">
                  <c:v>-0.05617649867698671</c:v>
                </c:pt>
                <c:pt idx="486">
                  <c:v>-0.061916847223709603</c:v>
                </c:pt>
                <c:pt idx="487">
                  <c:v>-0.03866449825462648</c:v>
                </c:pt>
                <c:pt idx="488">
                  <c:v>-0.03866449825462648</c:v>
                </c:pt>
                <c:pt idx="489">
                  <c:v>-0.03866449825462648</c:v>
                </c:pt>
                <c:pt idx="490">
                  <c:v>-0.03465422037377597</c:v>
                </c:pt>
                <c:pt idx="491">
                  <c:v>-0.027051381391914986</c:v>
                </c:pt>
                <c:pt idx="492">
                  <c:v>-0.016364591202430723</c:v>
                </c:pt>
                <c:pt idx="493">
                  <c:v>-0.007581642949943235</c:v>
                </c:pt>
                <c:pt idx="494">
                  <c:v>-0.0036783807502799304</c:v>
                </c:pt>
                <c:pt idx="495">
                  <c:v>-0.0036783807502799304</c:v>
                </c:pt>
                <c:pt idx="496">
                  <c:v>-0.0036783807502799304</c:v>
                </c:pt>
                <c:pt idx="497">
                  <c:v>-0.0042807670158739874</c:v>
                </c:pt>
                <c:pt idx="498">
                  <c:v>0.001171326435477349</c:v>
                </c:pt>
                <c:pt idx="499">
                  <c:v>-0.005984498489494006</c:v>
                </c:pt>
                <c:pt idx="500">
                  <c:v>-0.011680997965208606</c:v>
                </c:pt>
                <c:pt idx="501">
                  <c:v>0.016566942468839718</c:v>
                </c:pt>
                <c:pt idx="502">
                  <c:v>0.016566942468839718</c:v>
                </c:pt>
                <c:pt idx="503">
                  <c:v>0.016566942468839718</c:v>
                </c:pt>
                <c:pt idx="504">
                  <c:v>0.01709651892114583</c:v>
                </c:pt>
                <c:pt idx="505">
                  <c:v>0.022385664605915512</c:v>
                </c:pt>
                <c:pt idx="506">
                  <c:v>0.03015372186736931</c:v>
                </c:pt>
                <c:pt idx="507">
                  <c:v>0.042043001596610896</c:v>
                </c:pt>
                <c:pt idx="508">
                  <c:v>0.04677513404483946</c:v>
                </c:pt>
                <c:pt idx="509">
                  <c:v>0.04677513404483946</c:v>
                </c:pt>
                <c:pt idx="510">
                  <c:v>0.04677513404483946</c:v>
                </c:pt>
                <c:pt idx="511">
                  <c:v>0.03596416064855301</c:v>
                </c:pt>
                <c:pt idx="512">
                  <c:v>0.05223190457903826</c:v>
                </c:pt>
                <c:pt idx="513">
                  <c:v>0.06321066627175265</c:v>
                </c:pt>
                <c:pt idx="514">
                  <c:v>0.07633712765932477</c:v>
                </c:pt>
                <c:pt idx="515">
                  <c:v>0.06372695814566565</c:v>
                </c:pt>
                <c:pt idx="516">
                  <c:v>0.06372695814566565</c:v>
                </c:pt>
                <c:pt idx="517">
                  <c:v>0.06372695814566565</c:v>
                </c:pt>
                <c:pt idx="518">
                  <c:v>0.06504013057920477</c:v>
                </c:pt>
                <c:pt idx="519">
                  <c:v>0.06717551080832118</c:v>
                </c:pt>
                <c:pt idx="520">
                  <c:v>0.060869553323253944</c:v>
                </c:pt>
                <c:pt idx="521">
                  <c:v>0.05877834511701141</c:v>
                </c:pt>
                <c:pt idx="522">
                  <c:v>0.0585416383055406</c:v>
                </c:pt>
                <c:pt idx="523">
                  <c:v>0.0585416383055406</c:v>
                </c:pt>
                <c:pt idx="524">
                  <c:v>0.0585416383055406</c:v>
                </c:pt>
                <c:pt idx="525">
                  <c:v>0.07078542145440458</c:v>
                </c:pt>
                <c:pt idx="526">
                  <c:v>0.07299817921899865</c:v>
                </c:pt>
                <c:pt idx="527">
                  <c:v>0.07724485616835564</c:v>
                </c:pt>
                <c:pt idx="528">
                  <c:v>0.06795613526944999</c:v>
                </c:pt>
                <c:pt idx="529">
                  <c:v>0.06716554339518965</c:v>
                </c:pt>
                <c:pt idx="530">
                  <c:v>0.06716554339518965</c:v>
                </c:pt>
                <c:pt idx="531">
                  <c:v>0.06716554339518965</c:v>
                </c:pt>
                <c:pt idx="532">
                  <c:v>0.062256107881108136</c:v>
                </c:pt>
                <c:pt idx="533">
                  <c:v>0.054067891382950206</c:v>
                </c:pt>
                <c:pt idx="534">
                  <c:v>0.053428468268967855</c:v>
                </c:pt>
                <c:pt idx="535">
                  <c:v>0.06126674329068127</c:v>
                </c:pt>
                <c:pt idx="536">
                  <c:v>0.05141279520730824</c:v>
                </c:pt>
                <c:pt idx="537">
                  <c:v>0.05141279520730824</c:v>
                </c:pt>
                <c:pt idx="538">
                  <c:v>0.05141279520730824</c:v>
                </c:pt>
                <c:pt idx="539">
                  <c:v>0.059921319848109666</c:v>
                </c:pt>
                <c:pt idx="540">
                  <c:v>0.057703711252295564</c:v>
                </c:pt>
                <c:pt idx="541">
                  <c:v>0.0611230968661296</c:v>
                </c:pt>
                <c:pt idx="542">
                  <c:v>0.07378915748324721</c:v>
                </c:pt>
                <c:pt idx="543">
                  <c:v>0.09298138445510684</c:v>
                </c:pt>
                <c:pt idx="544">
                  <c:v>0.09298138445510684</c:v>
                </c:pt>
                <c:pt idx="545">
                  <c:v>0.09298138445510684</c:v>
                </c:pt>
                <c:pt idx="546">
                  <c:v>0.0923536425091902</c:v>
                </c:pt>
                <c:pt idx="547">
                  <c:v>0.0828560411936663</c:v>
                </c:pt>
                <c:pt idx="548">
                  <c:v>0.08505545289998295</c:v>
                </c:pt>
                <c:pt idx="549">
                  <c:v>0.07026799758683122</c:v>
                </c:pt>
                <c:pt idx="550">
                  <c:v>0.056812239827173094</c:v>
                </c:pt>
                <c:pt idx="551">
                  <c:v>0.056812239827173094</c:v>
                </c:pt>
                <c:pt idx="552">
                  <c:v>0.056812239827173094</c:v>
                </c:pt>
                <c:pt idx="553">
                  <c:v>0.04987899055157752</c:v>
                </c:pt>
                <c:pt idx="554">
                  <c:v>0.07675695050843134</c:v>
                </c:pt>
                <c:pt idx="555">
                  <c:v>0.059864158794296296</c:v>
                </c:pt>
                <c:pt idx="556">
                  <c:v>0.08993755201963571</c:v>
                </c:pt>
                <c:pt idx="557">
                  <c:v>0.07755445789870508</c:v>
                </c:pt>
                <c:pt idx="558">
                  <c:v>0.07755445789870508</c:v>
                </c:pt>
                <c:pt idx="559">
                  <c:v>0.07755445789870508</c:v>
                </c:pt>
                <c:pt idx="560">
                  <c:v>0.07266281532497021</c:v>
                </c:pt>
                <c:pt idx="561">
                  <c:v>0.10764018004475773</c:v>
                </c:pt>
                <c:pt idx="562">
                  <c:v>0.103795731534297</c:v>
                </c:pt>
                <c:pt idx="563">
                  <c:v>0.11345440259102424</c:v>
                </c:pt>
                <c:pt idx="564">
                  <c:v>0.12755426968833494</c:v>
                </c:pt>
                <c:pt idx="565">
                  <c:v>0.12755426968833494</c:v>
                </c:pt>
                <c:pt idx="566">
                  <c:v>0.12755426968833494</c:v>
                </c:pt>
                <c:pt idx="567">
                  <c:v>0.13595448404485366</c:v>
                </c:pt>
                <c:pt idx="568">
                  <c:v>0.14204104393393147</c:v>
                </c:pt>
                <c:pt idx="569">
                  <c:v>0.15337721322837972</c:v>
                </c:pt>
                <c:pt idx="570">
                  <c:v>0.1642226797781332</c:v>
                </c:pt>
                <c:pt idx="571">
                  <c:v>0.18466077782583135</c:v>
                </c:pt>
                <c:pt idx="572">
                  <c:v>0.18466077782583135</c:v>
                </c:pt>
                <c:pt idx="573">
                  <c:v>0.18466077782583135</c:v>
                </c:pt>
                <c:pt idx="574">
                  <c:v>0.17762276281451927</c:v>
                </c:pt>
                <c:pt idx="575">
                  <c:v>0.14606401505596867</c:v>
                </c:pt>
                <c:pt idx="576">
                  <c:v>0.1245106661479527</c:v>
                </c:pt>
                <c:pt idx="577">
                  <c:v>0.10348772263394079</c:v>
                </c:pt>
                <c:pt idx="578">
                  <c:v>0.09606082813275507</c:v>
                </c:pt>
                <c:pt idx="579">
                  <c:v>0.09606082813275507</c:v>
                </c:pt>
                <c:pt idx="580">
                  <c:v>0.09606082813275507</c:v>
                </c:pt>
                <c:pt idx="581">
                  <c:v>0.08879260755446339</c:v>
                </c:pt>
                <c:pt idx="582">
                  <c:v>0.09982945101547558</c:v>
                </c:pt>
                <c:pt idx="583">
                  <c:v>0.07085241588375601</c:v>
                </c:pt>
                <c:pt idx="584">
                  <c:v>0.050897427941758666</c:v>
                </c:pt>
                <c:pt idx="585">
                  <c:v>0.03841255160474799</c:v>
                </c:pt>
                <c:pt idx="586">
                  <c:v>0.03841255160474799</c:v>
                </c:pt>
                <c:pt idx="587">
                  <c:v>0.03841255160474799</c:v>
                </c:pt>
                <c:pt idx="588">
                  <c:v>0.01743519396759141</c:v>
                </c:pt>
                <c:pt idx="589">
                  <c:v>-0.009226331302367496</c:v>
                </c:pt>
                <c:pt idx="590">
                  <c:v>-0.007699637111520996</c:v>
                </c:pt>
                <c:pt idx="591">
                  <c:v>-0.029622779817973455</c:v>
                </c:pt>
                <c:pt idx="592">
                  <c:v>-0.03213938604311761</c:v>
                </c:pt>
                <c:pt idx="593">
                  <c:v>-0.03213938604311761</c:v>
                </c:pt>
                <c:pt idx="594">
                  <c:v>-0.03213938604311761</c:v>
                </c:pt>
                <c:pt idx="595">
                  <c:v>-0.02376696796529909</c:v>
                </c:pt>
                <c:pt idx="596">
                  <c:v>-0.039694587088552</c:v>
                </c:pt>
                <c:pt idx="597">
                  <c:v>-0.03325877768687846</c:v>
                </c:pt>
                <c:pt idx="598">
                  <c:v>-0.013686214623945259</c:v>
                </c:pt>
                <c:pt idx="599">
                  <c:v>-0.0029654783096332293</c:v>
                </c:pt>
                <c:pt idx="600">
                  <c:v>-0.0029654783096332293</c:v>
                </c:pt>
                <c:pt idx="601">
                  <c:v>-0.0029654783096332293</c:v>
                </c:pt>
                <c:pt idx="602">
                  <c:v>-0.016750413312644485</c:v>
                </c:pt>
                <c:pt idx="603">
                  <c:v>-0.01680698940421066</c:v>
                </c:pt>
                <c:pt idx="604">
                  <c:v>-0.019817910152675644</c:v>
                </c:pt>
                <c:pt idx="605">
                  <c:v>-0.019472954210934756</c:v>
                </c:pt>
                <c:pt idx="606">
                  <c:v>0.0069104767006489265</c:v>
                </c:pt>
                <c:pt idx="607">
                  <c:v>0.0069104767006489265</c:v>
                </c:pt>
                <c:pt idx="608">
                  <c:v>0.0069104767006489265</c:v>
                </c:pt>
                <c:pt idx="609">
                  <c:v>0.007574379287116129</c:v>
                </c:pt>
                <c:pt idx="610">
                  <c:v>0.007607744288092855</c:v>
                </c:pt>
                <c:pt idx="611">
                  <c:v>0.017612312911053696</c:v>
                </c:pt>
                <c:pt idx="612">
                  <c:v>0.016709025566628455</c:v>
                </c:pt>
                <c:pt idx="613">
                  <c:v>0.015537031000703472</c:v>
                </c:pt>
                <c:pt idx="614">
                  <c:v>0.015537031000703472</c:v>
                </c:pt>
                <c:pt idx="615">
                  <c:v>0.015537031000703472</c:v>
                </c:pt>
                <c:pt idx="616">
                  <c:v>0.022497396023110072</c:v>
                </c:pt>
                <c:pt idx="617">
                  <c:v>0.038637666928491576</c:v>
                </c:pt>
                <c:pt idx="618">
                  <c:v>0.04810136348623306</c:v>
                </c:pt>
                <c:pt idx="619">
                  <c:v>0.04600145869056704</c:v>
                </c:pt>
                <c:pt idx="620">
                  <c:v>0.05142221952988346</c:v>
                </c:pt>
                <c:pt idx="621">
                  <c:v>0.05142221952988346</c:v>
                </c:pt>
                <c:pt idx="622">
                  <c:v>0.05142221952988346</c:v>
                </c:pt>
                <c:pt idx="623">
                  <c:v>0.06404047931514367</c:v>
                </c:pt>
                <c:pt idx="624">
                  <c:v>0.05256534352072473</c:v>
                </c:pt>
                <c:pt idx="625">
                  <c:v>0.05577466156972388</c:v>
                </c:pt>
                <c:pt idx="626">
                  <c:v>0.0618401107593185</c:v>
                </c:pt>
                <c:pt idx="627">
                  <c:v>0.0868937704485353</c:v>
                </c:pt>
                <c:pt idx="628">
                  <c:v>0.0868937704485353</c:v>
                </c:pt>
                <c:pt idx="629">
                  <c:v>0.0868937704485353</c:v>
                </c:pt>
                <c:pt idx="630">
                  <c:v>0.0848883176370776</c:v>
                </c:pt>
                <c:pt idx="631">
                  <c:v>0.08237844871858435</c:v>
                </c:pt>
                <c:pt idx="632">
                  <c:v>0.07611114587640277</c:v>
                </c:pt>
                <c:pt idx="633">
                  <c:v>0.09562219333390964</c:v>
                </c:pt>
                <c:pt idx="634">
                  <c:v>0.11337689184296962</c:v>
                </c:pt>
                <c:pt idx="635">
                  <c:v>0.11337689184296962</c:v>
                </c:pt>
                <c:pt idx="636">
                  <c:v>0.11337689184296962</c:v>
                </c:pt>
                <c:pt idx="637">
                  <c:v>0.12567809951880204</c:v>
                </c:pt>
                <c:pt idx="638">
                  <c:v>0.1328161664477132</c:v>
                </c:pt>
                <c:pt idx="639">
                  <c:v>0.13817809602680176</c:v>
                </c:pt>
                <c:pt idx="640">
                  <c:v>0.14506860128388088</c:v>
                </c:pt>
                <c:pt idx="641">
                  <c:v>0.15422870468802552</c:v>
                </c:pt>
                <c:pt idx="642">
                  <c:v>0.15422870468802552</c:v>
                </c:pt>
                <c:pt idx="643">
                  <c:v>0.15422870468802552</c:v>
                </c:pt>
                <c:pt idx="644">
                  <c:v>0.16224658180084717</c:v>
                </c:pt>
                <c:pt idx="645">
                  <c:v>0.14860815161106133</c:v>
                </c:pt>
                <c:pt idx="646">
                  <c:v>0.10776725952028232</c:v>
                </c:pt>
                <c:pt idx="647">
                  <c:v>0.12292263784246193</c:v>
                </c:pt>
                <c:pt idx="648">
                  <c:v>0.13654227178410983</c:v>
                </c:pt>
                <c:pt idx="649">
                  <c:v>0.13654227178410983</c:v>
                </c:pt>
                <c:pt idx="650">
                  <c:v>0.13654227178410983</c:v>
                </c:pt>
                <c:pt idx="651">
                  <c:v>0.13512001273457686</c:v>
                </c:pt>
                <c:pt idx="652">
                  <c:v>0.12816187271578916</c:v>
                </c:pt>
                <c:pt idx="653">
                  <c:v>0.012167732070475612</c:v>
                </c:pt>
                <c:pt idx="654">
                  <c:v>0.011236723029707685</c:v>
                </c:pt>
                <c:pt idx="655">
                  <c:v>0.01518774853415139</c:v>
                </c:pt>
                <c:pt idx="656">
                  <c:v>0.01518774853415139</c:v>
                </c:pt>
                <c:pt idx="657">
                  <c:v>0.01518774853415139</c:v>
                </c:pt>
                <c:pt idx="658">
                  <c:v>-0.028743727652396522</c:v>
                </c:pt>
                <c:pt idx="659">
                  <c:v>-0.011421399909806285</c:v>
                </c:pt>
                <c:pt idx="660">
                  <c:v>0.0023697045596375865</c:v>
                </c:pt>
                <c:pt idx="661">
                  <c:v>0.004246172945638893</c:v>
                </c:pt>
                <c:pt idx="662">
                  <c:v>0.023520283994221458</c:v>
                </c:pt>
                <c:pt idx="663">
                  <c:v>0.023520283994221458</c:v>
                </c:pt>
                <c:pt idx="664">
                  <c:v>0.023520283994221458</c:v>
                </c:pt>
                <c:pt idx="665">
                  <c:v>0.03271810240499873</c:v>
                </c:pt>
                <c:pt idx="666">
                  <c:v>0.04719603048569998</c:v>
                </c:pt>
                <c:pt idx="667">
                  <c:v>0.043612316343989876</c:v>
                </c:pt>
                <c:pt idx="668">
                  <c:v>0.016897431687625142</c:v>
                </c:pt>
                <c:pt idx="669">
                  <c:v>0.06157104402393787</c:v>
                </c:pt>
                <c:pt idx="670">
                  <c:v>0.06157104402393787</c:v>
                </c:pt>
                <c:pt idx="671">
                  <c:v>0.06157104402393787</c:v>
                </c:pt>
                <c:pt idx="672">
                  <c:v>0.03706449297316072</c:v>
                </c:pt>
                <c:pt idx="673">
                  <c:v>0.06123243871019235</c:v>
                </c:pt>
                <c:pt idx="674">
                  <c:v>0.08327285903076276</c:v>
                </c:pt>
                <c:pt idx="675">
                  <c:v>0.09187400624267306</c:v>
                </c:pt>
                <c:pt idx="676">
                  <c:v>0.10203478362276552</c:v>
                </c:pt>
                <c:pt idx="677">
                  <c:v>0.10203478362276552</c:v>
                </c:pt>
                <c:pt idx="678">
                  <c:v>0.10203478362276552</c:v>
                </c:pt>
                <c:pt idx="679">
                  <c:v>0.11284869986286683</c:v>
                </c:pt>
                <c:pt idx="680">
                  <c:v>0.13780366145350098</c:v>
                </c:pt>
                <c:pt idx="681">
                  <c:v>0.1418175881160575</c:v>
                </c:pt>
                <c:pt idx="682">
                  <c:v>0.14304849193119296</c:v>
                </c:pt>
                <c:pt idx="683">
                  <c:v>0.1570757732208905</c:v>
                </c:pt>
                <c:pt idx="684">
                  <c:v>0.1570757732208905</c:v>
                </c:pt>
                <c:pt idx="685">
                  <c:v>0.1570757732208905</c:v>
                </c:pt>
                <c:pt idx="686">
                  <c:v>0.17237664696572663</c:v>
                </c:pt>
                <c:pt idx="687">
                  <c:v>0.17316991085579692</c:v>
                </c:pt>
                <c:pt idx="688">
                  <c:v>0.16963829794912155</c:v>
                </c:pt>
                <c:pt idx="689">
                  <c:v>0.12040284523267575</c:v>
                </c:pt>
                <c:pt idx="690">
                  <c:v>0.11970279454110466</c:v>
                </c:pt>
                <c:pt idx="691">
                  <c:v>0.11970279454110466</c:v>
                </c:pt>
                <c:pt idx="692">
                  <c:v>0.11970279454110466</c:v>
                </c:pt>
                <c:pt idx="693">
                  <c:v>0.12625454910858958</c:v>
                </c:pt>
                <c:pt idx="694">
                  <c:v>0.14172408793884506</c:v>
                </c:pt>
                <c:pt idx="695">
                  <c:v>0.1285831743668242</c:v>
                </c:pt>
                <c:pt idx="696">
                  <c:v>0.1389130420073459</c:v>
                </c:pt>
                <c:pt idx="697">
                  <c:v>0.13724534866205174</c:v>
                </c:pt>
                <c:pt idx="698">
                  <c:v>0.13724534866205174</c:v>
                </c:pt>
                <c:pt idx="699">
                  <c:v>0.13724534866205174</c:v>
                </c:pt>
                <c:pt idx="700">
                  <c:v>0.14273180525112483</c:v>
                </c:pt>
                <c:pt idx="701">
                  <c:v>0.164459697796415</c:v>
                </c:pt>
                <c:pt idx="702">
                  <c:v>0.12796723526613074</c:v>
                </c:pt>
                <c:pt idx="703">
                  <c:v>0.11538901370400301</c:v>
                </c:pt>
                <c:pt idx="704">
                  <c:v>0.11697739605528557</c:v>
                </c:pt>
                <c:pt idx="705">
                  <c:v>0.11697739605528557</c:v>
                </c:pt>
                <c:pt idx="706">
                  <c:v>0.11697739605528557</c:v>
                </c:pt>
                <c:pt idx="707">
                  <c:v>0.12906001025138703</c:v>
                </c:pt>
                <c:pt idx="708">
                  <c:v>0.12503681758351748</c:v>
                </c:pt>
                <c:pt idx="709">
                  <c:v>0.12604493001993888</c:v>
                </c:pt>
                <c:pt idx="710">
                  <c:v>0.12395488986544745</c:v>
                </c:pt>
                <c:pt idx="711">
                  <c:v>0.12347546198112958</c:v>
                </c:pt>
                <c:pt idx="712">
                  <c:v>0.12347546198112958</c:v>
                </c:pt>
                <c:pt idx="713">
                  <c:v>0.12347546198112958</c:v>
                </c:pt>
                <c:pt idx="714">
                  <c:v>0.11518494083446518</c:v>
                </c:pt>
                <c:pt idx="715">
                  <c:v>0.12349951507752088</c:v>
                </c:pt>
                <c:pt idx="716">
                  <c:v>0.13170480293620446</c:v>
                </c:pt>
                <c:pt idx="717">
                  <c:v>0.11864886618698134</c:v>
                </c:pt>
                <c:pt idx="718">
                  <c:v>0.13271110888626092</c:v>
                </c:pt>
                <c:pt idx="719">
                  <c:v>0.13271110888626092</c:v>
                </c:pt>
                <c:pt idx="720">
                  <c:v>0.13271110888626092</c:v>
                </c:pt>
                <c:pt idx="721">
                  <c:v>0.15094936011993831</c:v>
                </c:pt>
                <c:pt idx="722">
                  <c:v>0.17119163132562032</c:v>
                </c:pt>
                <c:pt idx="723">
                  <c:v>0.18710967902840947</c:v>
                </c:pt>
                <c:pt idx="724">
                  <c:v>0.18150267485086546</c:v>
                </c:pt>
                <c:pt idx="725">
                  <c:v>0.19603464656080694</c:v>
                </c:pt>
                <c:pt idx="726">
                  <c:v>0.19603464656080694</c:v>
                </c:pt>
                <c:pt idx="727">
                  <c:v>0.19603464656080694</c:v>
                </c:pt>
                <c:pt idx="728">
                  <c:v>0.2043091303090323</c:v>
                </c:pt>
                <c:pt idx="729">
                  <c:v>0.19865291517268124</c:v>
                </c:pt>
                <c:pt idx="730">
                  <c:v>0.20151679467294792</c:v>
                </c:pt>
                <c:pt idx="731">
                  <c:v>0.2000262411077236</c:v>
                </c:pt>
                <c:pt idx="732">
                  <c:v>0.21135602992808944</c:v>
                </c:pt>
                <c:pt idx="733">
                  <c:v>0.21135602992808944</c:v>
                </c:pt>
                <c:pt idx="734">
                  <c:v>0.21135602992808944</c:v>
                </c:pt>
                <c:pt idx="735">
                  <c:v>0.22211969313442403</c:v>
                </c:pt>
                <c:pt idx="736">
                  <c:v>0.22476524752261406</c:v>
                </c:pt>
                <c:pt idx="737">
                  <c:v>0.23015128690922926</c:v>
                </c:pt>
                <c:pt idx="738">
                  <c:v>0.24507706569556253</c:v>
                </c:pt>
                <c:pt idx="739">
                  <c:v>0.20466061478277475</c:v>
                </c:pt>
                <c:pt idx="740">
                  <c:v>0.20466061478277475</c:v>
                </c:pt>
                <c:pt idx="741">
                  <c:v>0.20466061478277475</c:v>
                </c:pt>
                <c:pt idx="742">
                  <c:v>0.19561096595031335</c:v>
                </c:pt>
                <c:pt idx="743">
                  <c:v>0.20356465010163927</c:v>
                </c:pt>
                <c:pt idx="744">
                  <c:v>0.19893128712428898</c:v>
                </c:pt>
                <c:pt idx="745">
                  <c:v>0.19105279922805707</c:v>
                </c:pt>
                <c:pt idx="746">
                  <c:v>0.19327622811186695</c:v>
                </c:pt>
                <c:pt idx="747">
                  <c:v>0.19327622811186695</c:v>
                </c:pt>
                <c:pt idx="748">
                  <c:v>0.19327622811186695</c:v>
                </c:pt>
                <c:pt idx="749">
                  <c:v>0.19270210248472197</c:v>
                </c:pt>
                <c:pt idx="750">
                  <c:v>0.186013557391008</c:v>
                </c:pt>
                <c:pt idx="751">
                  <c:v>0.18566384200622332</c:v>
                </c:pt>
                <c:pt idx="752">
                  <c:v>0.1771653346600106</c:v>
                </c:pt>
                <c:pt idx="753">
                  <c:v>0.1756801918020774</c:v>
                </c:pt>
                <c:pt idx="754">
                  <c:v>0.1756801918020774</c:v>
                </c:pt>
                <c:pt idx="755">
                  <c:v>0.1756801918020774</c:v>
                </c:pt>
                <c:pt idx="756">
                  <c:v>0.1812845026835055</c:v>
                </c:pt>
                <c:pt idx="757">
                  <c:v>0.16918603357967332</c:v>
                </c:pt>
                <c:pt idx="758">
                  <c:v>0.18375614677301688</c:v>
                </c:pt>
                <c:pt idx="759">
                  <c:v>0.18657146855183782</c:v>
                </c:pt>
                <c:pt idx="760">
                  <c:v>0.20190155878949434</c:v>
                </c:pt>
                <c:pt idx="761">
                  <c:v>0.20190155878949434</c:v>
                </c:pt>
                <c:pt idx="762">
                  <c:v>0.20190155878949434</c:v>
                </c:pt>
                <c:pt idx="763">
                  <c:v>0.20701063135347475</c:v>
                </c:pt>
                <c:pt idx="764">
                  <c:v>0.2295145593689636</c:v>
                </c:pt>
                <c:pt idx="765">
                  <c:v>0.23469980706716642</c:v>
                </c:pt>
                <c:pt idx="766">
                  <c:v>0.2304892195091517</c:v>
                </c:pt>
                <c:pt idx="767">
                  <c:v>0.2205055186520457</c:v>
                </c:pt>
                <c:pt idx="768">
                  <c:v>0.2205055186520457</c:v>
                </c:pt>
                <c:pt idx="769">
                  <c:v>0.2205055186520457</c:v>
                </c:pt>
                <c:pt idx="770">
                  <c:v>0.22353279564240847</c:v>
                </c:pt>
                <c:pt idx="771">
                  <c:v>0.2210347844323095</c:v>
                </c:pt>
                <c:pt idx="772">
                  <c:v>0.21160057921760278</c:v>
                </c:pt>
                <c:pt idx="773">
                  <c:v>0.21176194516340274</c:v>
                </c:pt>
                <c:pt idx="774">
                  <c:v>0.19165036025750637</c:v>
                </c:pt>
                <c:pt idx="775">
                  <c:v>0.19165036025750637</c:v>
                </c:pt>
                <c:pt idx="776">
                  <c:v>0.19165036025750637</c:v>
                </c:pt>
                <c:pt idx="777">
                  <c:v>0.19336318843032418</c:v>
                </c:pt>
                <c:pt idx="778">
                  <c:v>0.20773762516060845</c:v>
                </c:pt>
                <c:pt idx="779">
                  <c:v>0.19401750591834088</c:v>
                </c:pt>
                <c:pt idx="780">
                  <c:v>0.18889891667472902</c:v>
                </c:pt>
                <c:pt idx="781">
                  <c:v>0.190059018125035</c:v>
                </c:pt>
                <c:pt idx="782">
                  <c:v>0.190059018125035</c:v>
                </c:pt>
                <c:pt idx="783">
                  <c:v>0.190059018125035</c:v>
                </c:pt>
                <c:pt idx="784">
                  <c:v>0.20384004761796093</c:v>
                </c:pt>
                <c:pt idx="785">
                  <c:v>0.21379979867267962</c:v>
                </c:pt>
                <c:pt idx="786">
                  <c:v>0.22655861738433059</c:v>
                </c:pt>
                <c:pt idx="787">
                  <c:v>0.2546584382979087</c:v>
                </c:pt>
                <c:pt idx="788">
                  <c:v>0.2690293543266362</c:v>
                </c:pt>
                <c:pt idx="789">
                  <c:v>0.2690293543266362</c:v>
                </c:pt>
                <c:pt idx="790">
                  <c:v>0.2690293543266362</c:v>
                </c:pt>
                <c:pt idx="791">
                  <c:v>0.2676816612669297</c:v>
                </c:pt>
                <c:pt idx="792">
                  <c:v>0.27444889066321987</c:v>
                </c:pt>
                <c:pt idx="793">
                  <c:v>0.29063842841807586</c:v>
                </c:pt>
                <c:pt idx="794">
                  <c:v>0.28754661566069584</c:v>
                </c:pt>
                <c:pt idx="795">
                  <c:v>0.31450180863602606</c:v>
                </c:pt>
                <c:pt idx="796">
                  <c:v>0.31450180863602606</c:v>
                </c:pt>
                <c:pt idx="797">
                  <c:v>0.31450180863602606</c:v>
                </c:pt>
                <c:pt idx="798">
                  <c:v>0.3144231002151261</c:v>
                </c:pt>
                <c:pt idx="799">
                  <c:v>0.34799356681286975</c:v>
                </c:pt>
                <c:pt idx="800">
                  <c:v>0.3561033317712359</c:v>
                </c:pt>
                <c:pt idx="801">
                  <c:v>0.3627438615481162</c:v>
                </c:pt>
                <c:pt idx="802">
                  <c:v>0.37452128722012623</c:v>
                </c:pt>
                <c:pt idx="803">
                  <c:v>0.37452128722012623</c:v>
                </c:pt>
                <c:pt idx="804">
                  <c:v>0.37452128722012623</c:v>
                </c:pt>
                <c:pt idx="805">
                  <c:v>0.38258296117693313</c:v>
                </c:pt>
                <c:pt idx="806">
                  <c:v>0.3866557056294895</c:v>
                </c:pt>
                <c:pt idx="807">
                  <c:v>0.39331418937283447</c:v>
                </c:pt>
                <c:pt idx="808">
                  <c:v>0.39466246772651337</c:v>
                </c:pt>
                <c:pt idx="809">
                  <c:v>0.40283494465662106</c:v>
                </c:pt>
                <c:pt idx="810">
                  <c:v>0.40283494465662106</c:v>
                </c:pt>
                <c:pt idx="811">
                  <c:v>0.40283494465662106</c:v>
                </c:pt>
                <c:pt idx="812">
                  <c:v>0.40403287925675246</c:v>
                </c:pt>
                <c:pt idx="813">
                  <c:v>0.41274794859907926</c:v>
                </c:pt>
                <c:pt idx="814">
                  <c:v>0.4149813867636811</c:v>
                </c:pt>
                <c:pt idx="815">
                  <c:v>0.4261214995306877</c:v>
                </c:pt>
                <c:pt idx="816">
                  <c:v>0.4357423143988528</c:v>
                </c:pt>
                <c:pt idx="817">
                  <c:v>0.4357423143988528</c:v>
                </c:pt>
                <c:pt idx="818">
                  <c:v>0.4357423143988528</c:v>
                </c:pt>
                <c:pt idx="819">
                  <c:v>0.42924434570308634</c:v>
                </c:pt>
                <c:pt idx="820">
                  <c:v>0.43071595594509393</c:v>
                </c:pt>
                <c:pt idx="821">
                  <c:v>0.4360801188432928</c:v>
                </c:pt>
                <c:pt idx="822">
                  <c:v>0.45200560161851433</c:v>
                </c:pt>
                <c:pt idx="823">
                  <c:v>0.46948355771509287</c:v>
                </c:pt>
                <c:pt idx="824">
                  <c:v>0.46948355771509287</c:v>
                </c:pt>
                <c:pt idx="825">
                  <c:v>0.46948355771509287</c:v>
                </c:pt>
                <c:pt idx="826">
                  <c:v>0.4668424542314773</c:v>
                </c:pt>
                <c:pt idx="827">
                  <c:v>0.4826802469241245</c:v>
                </c:pt>
                <c:pt idx="828">
                  <c:v>0.5064284288890364</c:v>
                </c:pt>
                <c:pt idx="829">
                  <c:v>0.5208971444792001</c:v>
                </c:pt>
                <c:pt idx="830">
                  <c:v>0.521575104356552</c:v>
                </c:pt>
                <c:pt idx="831">
                  <c:v>0.521575104356552</c:v>
                </c:pt>
                <c:pt idx="832">
                  <c:v>0.521575104356552</c:v>
                </c:pt>
                <c:pt idx="833">
                  <c:v>0.5544057785207821</c:v>
                </c:pt>
                <c:pt idx="834">
                  <c:v>0.5648625823929248</c:v>
                </c:pt>
                <c:pt idx="835">
                  <c:v>0.5512321568971492</c:v>
                </c:pt>
                <c:pt idx="836">
                  <c:v>0.5813753932524508</c:v>
                </c:pt>
                <c:pt idx="837">
                  <c:v>0.5846395989893132</c:v>
                </c:pt>
                <c:pt idx="838">
                  <c:v>0.5846395989893132</c:v>
                </c:pt>
                <c:pt idx="839">
                  <c:v>0.5846395989893132</c:v>
                </c:pt>
                <c:pt idx="840">
                  <c:v>0.5914273603284737</c:v>
                </c:pt>
                <c:pt idx="841">
                  <c:v>0.5991343350606309</c:v>
                </c:pt>
                <c:pt idx="842">
                  <c:v>0.6047738677431842</c:v>
                </c:pt>
                <c:pt idx="843">
                  <c:v>0.6100458302616849</c:v>
                </c:pt>
                <c:pt idx="844">
                  <c:v>0.6255578355219396</c:v>
                </c:pt>
                <c:pt idx="845">
                  <c:v>0.6255578355219396</c:v>
                </c:pt>
                <c:pt idx="846">
                  <c:v>0.6255578355219396</c:v>
                </c:pt>
                <c:pt idx="847">
                  <c:v>0.6234672485997863</c:v>
                </c:pt>
                <c:pt idx="848">
                  <c:v>0.6110460403886044</c:v>
                </c:pt>
                <c:pt idx="849">
                  <c:v>0.5935932906180139</c:v>
                </c:pt>
                <c:pt idx="850">
                  <c:v>0.5930190037170324</c:v>
                </c:pt>
                <c:pt idx="851">
                  <c:v>0.5957487820080982</c:v>
                </c:pt>
                <c:pt idx="852">
                  <c:v>0.5957487820080982</c:v>
                </c:pt>
                <c:pt idx="853">
                  <c:v>0.5957487820080982</c:v>
                </c:pt>
                <c:pt idx="854">
                  <c:v>0.612118341823928</c:v>
                </c:pt>
                <c:pt idx="855">
                  <c:v>0.6181768056363037</c:v>
                </c:pt>
                <c:pt idx="856">
                  <c:v>0.6272262949712397</c:v>
                </c:pt>
                <c:pt idx="857">
                  <c:v>0.6300326365701494</c:v>
                </c:pt>
                <c:pt idx="858">
                  <c:v>0.6400026135547006</c:v>
                </c:pt>
                <c:pt idx="859">
                  <c:v>0.6400026135547006</c:v>
                </c:pt>
                <c:pt idx="860">
                  <c:v>0.6400026135547006</c:v>
                </c:pt>
                <c:pt idx="861">
                  <c:v>0.637494169903658</c:v>
                </c:pt>
                <c:pt idx="862">
                  <c:v>0.6262824400022449</c:v>
                </c:pt>
                <c:pt idx="863">
                  <c:v>0.6230097098034311</c:v>
                </c:pt>
                <c:pt idx="864">
                  <c:v>0.6363350224048205</c:v>
                </c:pt>
                <c:pt idx="865">
                  <c:v>0.6584921964328445</c:v>
                </c:pt>
                <c:pt idx="866">
                  <c:v>0.6584921964328445</c:v>
                </c:pt>
                <c:pt idx="867">
                  <c:v>0.6584921964328445</c:v>
                </c:pt>
                <c:pt idx="868">
                  <c:v>0.6635836037533491</c:v>
                </c:pt>
                <c:pt idx="869">
                  <c:v>0.672185057506909</c:v>
                </c:pt>
                <c:pt idx="870">
                  <c:v>0.6825836231754352</c:v>
                </c:pt>
                <c:pt idx="871">
                  <c:v>0.699607027966469</c:v>
                </c:pt>
                <c:pt idx="872">
                  <c:v>0.7083324472446819</c:v>
                </c:pt>
                <c:pt idx="873">
                  <c:v>0.7083324472446819</c:v>
                </c:pt>
                <c:pt idx="874">
                  <c:v>0.7083324472446819</c:v>
                </c:pt>
                <c:pt idx="875">
                  <c:v>0.7255505571379046</c:v>
                </c:pt>
                <c:pt idx="876">
                  <c:v>0.7279685746776206</c:v>
                </c:pt>
                <c:pt idx="877">
                  <c:v>0.7094014756729226</c:v>
                </c:pt>
                <c:pt idx="878">
                  <c:v>0.7277435539391066</c:v>
                </c:pt>
                <c:pt idx="879">
                  <c:v>0.7437628547299049</c:v>
                </c:pt>
                <c:pt idx="880">
                  <c:v>0.7437628547299049</c:v>
                </c:pt>
                <c:pt idx="881">
                  <c:v>0.7437628547299049</c:v>
                </c:pt>
                <c:pt idx="882">
                  <c:v>0.7535462897237348</c:v>
                </c:pt>
                <c:pt idx="883">
                  <c:v>0.7464128346406496</c:v>
                </c:pt>
                <c:pt idx="884">
                  <c:v>0.7512697735209684</c:v>
                </c:pt>
                <c:pt idx="885">
                  <c:v>0.7403725232522036</c:v>
                </c:pt>
                <c:pt idx="886">
                  <c:v>0.7502185843883977</c:v>
                </c:pt>
                <c:pt idx="887">
                  <c:v>0.7502185843883977</c:v>
                </c:pt>
                <c:pt idx="888">
                  <c:v>0.7502185843883977</c:v>
                </c:pt>
                <c:pt idx="889">
                  <c:v>0.7498907960913186</c:v>
                </c:pt>
                <c:pt idx="890">
                  <c:v>0.7234854174678034</c:v>
                </c:pt>
                <c:pt idx="891">
                  <c:v>0.7362291600596433</c:v>
                </c:pt>
                <c:pt idx="892">
                  <c:v>0.7469229657152887</c:v>
                </c:pt>
                <c:pt idx="893">
                  <c:v>0.7125066505876321</c:v>
                </c:pt>
                <c:pt idx="894">
                  <c:v>0.7125066505876321</c:v>
                </c:pt>
                <c:pt idx="895">
                  <c:v>0.7125066505876321</c:v>
                </c:pt>
                <c:pt idx="896">
                  <c:v>0.6106677992088407</c:v>
                </c:pt>
                <c:pt idx="897">
                  <c:v>0.48384068127398616</c:v>
                </c:pt>
                <c:pt idx="898">
                  <c:v>0.4748550800524216</c:v>
                </c:pt>
                <c:pt idx="899">
                  <c:v>0.5067525100051007</c:v>
                </c:pt>
                <c:pt idx="900">
                  <c:v>0.5079267959726235</c:v>
                </c:pt>
                <c:pt idx="901">
                  <c:v>0.5079267959726235</c:v>
                </c:pt>
                <c:pt idx="902">
                  <c:v>0.5079267959726235</c:v>
                </c:pt>
                <c:pt idx="903">
                  <c:v>0.5118610059286863</c:v>
                </c:pt>
                <c:pt idx="904">
                  <c:v>0.5158450408128015</c:v>
                </c:pt>
                <c:pt idx="905">
                  <c:v>0.5241364676649405</c:v>
                </c:pt>
                <c:pt idx="906">
                  <c:v>0.528953702160468</c:v>
                </c:pt>
                <c:pt idx="907">
                  <c:v>0.570978089426103</c:v>
                </c:pt>
                <c:pt idx="908">
                  <c:v>0.570978089426103</c:v>
                </c:pt>
                <c:pt idx="909">
                  <c:v>0.570978089426103</c:v>
                </c:pt>
                <c:pt idx="910">
                  <c:v>0.5627737935715618</c:v>
                </c:pt>
                <c:pt idx="911">
                  <c:v>0.5623988028136635</c:v>
                </c:pt>
                <c:pt idx="912">
                  <c:v>0.584409016982467</c:v>
                </c:pt>
                <c:pt idx="913">
                  <c:v>0.6071417483051285</c:v>
                </c:pt>
                <c:pt idx="914">
                  <c:v>0.6090538191289427</c:v>
                </c:pt>
                <c:pt idx="915">
                  <c:v>0.6090538191289427</c:v>
                </c:pt>
                <c:pt idx="916">
                  <c:v>0.6090538191289427</c:v>
                </c:pt>
                <c:pt idx="917">
                  <c:v>0.6106610748935299</c:v>
                </c:pt>
                <c:pt idx="918">
                  <c:v>0.6430817235046318</c:v>
                </c:pt>
                <c:pt idx="919">
                  <c:v>0.6570302814797042</c:v>
                </c:pt>
                <c:pt idx="920">
                  <c:v>0.6574203101215375</c:v>
                </c:pt>
                <c:pt idx="921">
                  <c:v>0.6612934074480354</c:v>
                </c:pt>
                <c:pt idx="922">
                  <c:v>0.6612934074480354</c:v>
                </c:pt>
                <c:pt idx="923">
                  <c:v>0.6612934074480354</c:v>
                </c:pt>
                <c:pt idx="924">
                  <c:v>0.6798299879092611</c:v>
                </c:pt>
                <c:pt idx="925">
                  <c:v>0.7214436045116384</c:v>
                </c:pt>
                <c:pt idx="926">
                  <c:v>0.7467112121361865</c:v>
                </c:pt>
                <c:pt idx="927">
                  <c:v>0.7591388318804007</c:v>
                </c:pt>
                <c:pt idx="928">
                  <c:v>0.7733573120397199</c:v>
                </c:pt>
                <c:pt idx="929">
                  <c:v>0.7733573120397199</c:v>
                </c:pt>
                <c:pt idx="930">
                  <c:v>0.7733573120397199</c:v>
                </c:pt>
                <c:pt idx="931">
                  <c:v>0.7721154301065218</c:v>
                </c:pt>
                <c:pt idx="932">
                  <c:v>0.8111791705881313</c:v>
                </c:pt>
                <c:pt idx="933">
                  <c:v>0.7330492527093175</c:v>
                </c:pt>
                <c:pt idx="934">
                  <c:v>0.7190358324102435</c:v>
                </c:pt>
                <c:pt idx="935">
                  <c:v>0.6892603523438539</c:v>
                </c:pt>
                <c:pt idx="936">
                  <c:v>0.6892603523438539</c:v>
                </c:pt>
                <c:pt idx="937">
                  <c:v>0.6892603523438539</c:v>
                </c:pt>
                <c:pt idx="938">
                  <c:v>0.6992679223132392</c:v>
                </c:pt>
                <c:pt idx="939">
                  <c:v>0.6907410840826049</c:v>
                </c:pt>
                <c:pt idx="940">
                  <c:v>0.6779611415237026</c:v>
                </c:pt>
                <c:pt idx="941">
                  <c:v>0.6533004384125856</c:v>
                </c:pt>
                <c:pt idx="942">
                  <c:v>0.6705007882211278</c:v>
                </c:pt>
                <c:pt idx="943">
                  <c:v>0.6705007882211278</c:v>
                </c:pt>
                <c:pt idx="944">
                  <c:v>0.6705007882211278</c:v>
                </c:pt>
                <c:pt idx="945">
                  <c:v>0.6666366232138503</c:v>
                </c:pt>
                <c:pt idx="946">
                  <c:v>0.6654486331154912</c:v>
                </c:pt>
                <c:pt idx="947">
                  <c:v>0.6609020812868709</c:v>
                </c:pt>
                <c:pt idx="948">
                  <c:v>0.6725419619088415</c:v>
                </c:pt>
                <c:pt idx="949">
                  <c:v>0.6584595763731069</c:v>
                </c:pt>
                <c:pt idx="950">
                  <c:v>0.6584595763731069</c:v>
                </c:pt>
                <c:pt idx="951">
                  <c:v>0.6584595763731069</c:v>
                </c:pt>
                <c:pt idx="952">
                  <c:v>0.6382762025933997</c:v>
                </c:pt>
                <c:pt idx="953">
                  <c:v>0.6392087905977197</c:v>
                </c:pt>
                <c:pt idx="954">
                  <c:v>0.6332494592623892</c:v>
                </c:pt>
                <c:pt idx="955">
                  <c:v>0.6403087724467162</c:v>
                </c:pt>
                <c:pt idx="956">
                  <c:v>0.6539383473778253</c:v>
                </c:pt>
                <c:pt idx="957">
                  <c:v>0.6539383473778253</c:v>
                </c:pt>
                <c:pt idx="958">
                  <c:v>0.6539383473778253</c:v>
                </c:pt>
                <c:pt idx="959">
                  <c:v>0.6737035099424722</c:v>
                </c:pt>
                <c:pt idx="960">
                  <c:v>0.707474074222036</c:v>
                </c:pt>
                <c:pt idx="961">
                  <c:v>0.7063297681793379</c:v>
                </c:pt>
                <c:pt idx="962">
                  <c:v>0.7198741815350389</c:v>
                </c:pt>
                <c:pt idx="963">
                  <c:v>0.7490305051362862</c:v>
                </c:pt>
                <c:pt idx="964">
                  <c:v>0.7490305051362862</c:v>
                </c:pt>
                <c:pt idx="965">
                  <c:v>0.7490305051362862</c:v>
                </c:pt>
                <c:pt idx="966">
                  <c:v>0.7726221859714406</c:v>
                </c:pt>
                <c:pt idx="967">
                  <c:v>0.7510028576733738</c:v>
                </c:pt>
                <c:pt idx="968">
                  <c:v>0.7557650306782735</c:v>
                </c:pt>
                <c:pt idx="969">
                  <c:v>0.7767605640786817</c:v>
                </c:pt>
                <c:pt idx="970">
                  <c:v>0.8068357639616799</c:v>
                </c:pt>
                <c:pt idx="971">
                  <c:v>0.8068357639616799</c:v>
                </c:pt>
                <c:pt idx="972">
                  <c:v>0.8068357639616799</c:v>
                </c:pt>
                <c:pt idx="973">
                  <c:v>0.8227868538388128</c:v>
                </c:pt>
                <c:pt idx="974">
                  <c:v>0.8401967466016635</c:v>
                </c:pt>
                <c:pt idx="975">
                  <c:v>0.8343358205770026</c:v>
                </c:pt>
                <c:pt idx="976">
                  <c:v>0.8608786507851054</c:v>
                </c:pt>
                <c:pt idx="977">
                  <c:v>0.8665556320537247</c:v>
                </c:pt>
                <c:pt idx="978">
                  <c:v>0.8665556320537247</c:v>
                </c:pt>
                <c:pt idx="979">
                  <c:v>0.8665556320537247</c:v>
                </c:pt>
                <c:pt idx="980">
                  <c:v>0.8688924363662291</c:v>
                </c:pt>
                <c:pt idx="981">
                  <c:v>0.763894609535734</c:v>
                </c:pt>
                <c:pt idx="982">
                  <c:v>0.7357569047107153</c:v>
                </c:pt>
                <c:pt idx="983">
                  <c:v>0.773769726986975</c:v>
                </c:pt>
                <c:pt idx="984">
                  <c:v>0.7538401628605924</c:v>
                </c:pt>
                <c:pt idx="985">
                  <c:v>0.7538401628605924</c:v>
                </c:pt>
                <c:pt idx="986">
                  <c:v>0.7538401628605924</c:v>
                </c:pt>
                <c:pt idx="987">
                  <c:v>0.7629924851195924</c:v>
                </c:pt>
                <c:pt idx="988">
                  <c:v>0.795257480822968</c:v>
                </c:pt>
                <c:pt idx="989">
                  <c:v>0.7853213521599185</c:v>
                </c:pt>
                <c:pt idx="990">
                  <c:v>0.7913951231968124</c:v>
                </c:pt>
                <c:pt idx="991">
                  <c:v>0.8297547031898715</c:v>
                </c:pt>
                <c:pt idx="992">
                  <c:v>0.8297547031898715</c:v>
                </c:pt>
                <c:pt idx="993">
                  <c:v>0.8297547031898715</c:v>
                </c:pt>
                <c:pt idx="994">
                  <c:v>0.8424015875396527</c:v>
                </c:pt>
                <c:pt idx="995">
                  <c:v>0.8509958349253814</c:v>
                </c:pt>
                <c:pt idx="996">
                  <c:v>0.8460617832239221</c:v>
                </c:pt>
                <c:pt idx="997">
                  <c:v>0.8568469543126473</c:v>
                </c:pt>
                <c:pt idx="998">
                  <c:v>0.8677912928742704</c:v>
                </c:pt>
                <c:pt idx="999">
                  <c:v>0.8677912928742704</c:v>
                </c:pt>
                <c:pt idx="1000">
                  <c:v>0.8677912928742704</c:v>
                </c:pt>
                <c:pt idx="1001">
                  <c:v>0.7735627649420882</c:v>
                </c:pt>
                <c:pt idx="1002">
                  <c:v>0.7878783846726072</c:v>
                </c:pt>
                <c:pt idx="1003">
                  <c:v>0.8197895152399739</c:v>
                </c:pt>
                <c:pt idx="1004">
                  <c:v>0.8303419823659253</c:v>
                </c:pt>
                <c:pt idx="1005">
                  <c:v>0.8177401888976965</c:v>
                </c:pt>
                <c:pt idx="1006">
                  <c:v>0.8177401888976965</c:v>
                </c:pt>
                <c:pt idx="1007">
                  <c:v>0.8177401888976965</c:v>
                </c:pt>
                <c:pt idx="1008">
                  <c:v>0.844792950087113</c:v>
                </c:pt>
                <c:pt idx="1009">
                  <c:v>0.8328939415577745</c:v>
                </c:pt>
                <c:pt idx="1010">
                  <c:v>0.8421821237855909</c:v>
                </c:pt>
                <c:pt idx="1011">
                  <c:v>0.8512792803489302</c:v>
                </c:pt>
                <c:pt idx="1012">
                  <c:v>0.8414423794215624</c:v>
                </c:pt>
                <c:pt idx="1013">
                  <c:v>0.8414423794215624</c:v>
                </c:pt>
                <c:pt idx="1014">
                  <c:v>0.8414423794215624</c:v>
                </c:pt>
                <c:pt idx="1015">
                  <c:v>0.8334273351362151</c:v>
                </c:pt>
                <c:pt idx="1016">
                  <c:v>0.8174767917179115</c:v>
                </c:pt>
                <c:pt idx="1017">
                  <c:v>0.8181463430538969</c:v>
                </c:pt>
                <c:pt idx="1018">
                  <c:v>0.7937081979482377</c:v>
                </c:pt>
                <c:pt idx="1019">
                  <c:v>0.7820419834909909</c:v>
                </c:pt>
                <c:pt idx="1020">
                  <c:v>0.7820419834909909</c:v>
                </c:pt>
                <c:pt idx="1021">
                  <c:v>0.7820419834909909</c:v>
                </c:pt>
                <c:pt idx="1022">
                  <c:v>0.7821809340280965</c:v>
                </c:pt>
                <c:pt idx="1023">
                  <c:v>0.7893958958741867</c:v>
                </c:pt>
                <c:pt idx="1024">
                  <c:v>0.8092334086127304</c:v>
                </c:pt>
                <c:pt idx="1025">
                  <c:v>0.8183725731861513</c:v>
                </c:pt>
                <c:pt idx="1026">
                  <c:v>0.8046170654254441</c:v>
                </c:pt>
                <c:pt idx="1027">
                  <c:v>0.8046170654254441</c:v>
                </c:pt>
                <c:pt idx="1028">
                  <c:v>0.8046170654254441</c:v>
                </c:pt>
                <c:pt idx="1029">
                  <c:v>0.6857555320252904</c:v>
                </c:pt>
                <c:pt idx="1030">
                  <c:v>0.6928386349081228</c:v>
                </c:pt>
                <c:pt idx="1031">
                  <c:v>0.7136777728250276</c:v>
                </c:pt>
                <c:pt idx="1032">
                  <c:v>0.7226660965543303</c:v>
                </c:pt>
                <c:pt idx="1033">
                  <c:v>0.7424222997549541</c:v>
                </c:pt>
                <c:pt idx="1034">
                  <c:v>0.7424222997549541</c:v>
                </c:pt>
                <c:pt idx="1035">
                  <c:v>0.7424222997549541</c:v>
                </c:pt>
                <c:pt idx="1036">
                  <c:v>0.7557910471766325</c:v>
                </c:pt>
                <c:pt idx="1037">
                  <c:v>0.7614739951628873</c:v>
                </c:pt>
                <c:pt idx="1038">
                  <c:v>0.7873670892059497</c:v>
                </c:pt>
                <c:pt idx="1039">
                  <c:v>0.8257750293151602</c:v>
                </c:pt>
                <c:pt idx="1040">
                  <c:v>0.8392225344095203</c:v>
                </c:pt>
                <c:pt idx="1041">
                  <c:v>0.8392225344095203</c:v>
                </c:pt>
                <c:pt idx="1042">
                  <c:v>0.8392225344095203</c:v>
                </c:pt>
                <c:pt idx="1043">
                  <c:v>0.8465982824983382</c:v>
                </c:pt>
                <c:pt idx="1044">
                  <c:v>0.8651883219320333</c:v>
                </c:pt>
                <c:pt idx="1045">
                  <c:v>0.8601126016130003</c:v>
                </c:pt>
                <c:pt idx="1046">
                  <c:v>0.8576108625544103</c:v>
                </c:pt>
                <c:pt idx="1047">
                  <c:v>0.8714454479924842</c:v>
                </c:pt>
                <c:pt idx="1048">
                  <c:v>0.8714454479924842</c:v>
                </c:pt>
                <c:pt idx="1049">
                  <c:v>0.8714454479924842</c:v>
                </c:pt>
                <c:pt idx="1050">
                  <c:v>0.8256397727528961</c:v>
                </c:pt>
                <c:pt idx="1051">
                  <c:v>0.8488281921694183</c:v>
                </c:pt>
                <c:pt idx="1052">
                  <c:v>0.8109319851205858</c:v>
                </c:pt>
                <c:pt idx="1053">
                  <c:v>0.8117287632304011</c:v>
                </c:pt>
                <c:pt idx="1054">
                  <c:v>0.8372727131726525</c:v>
                </c:pt>
                <c:pt idx="1055">
                  <c:v>0.8372727131726525</c:v>
                </c:pt>
                <c:pt idx="1056">
                  <c:v>0.8372727131726525</c:v>
                </c:pt>
                <c:pt idx="1057">
                  <c:v>0.8367299849278527</c:v>
                </c:pt>
                <c:pt idx="1058">
                  <c:v>0.8342585323394349</c:v>
                </c:pt>
                <c:pt idx="1059">
                  <c:v>0.8822718497053539</c:v>
                </c:pt>
                <c:pt idx="1060">
                  <c:v>0.8229709261224283</c:v>
                </c:pt>
                <c:pt idx="1061">
                  <c:v>0.776244242965455</c:v>
                </c:pt>
                <c:pt idx="1062">
                  <c:v>0.776244242965455</c:v>
                </c:pt>
                <c:pt idx="1063">
                  <c:v>0.776244242965455</c:v>
                </c:pt>
                <c:pt idx="1064">
                  <c:v>0.7155692800280711</c:v>
                </c:pt>
                <c:pt idx="1065">
                  <c:v>0.7426190067843759</c:v>
                </c:pt>
                <c:pt idx="1066">
                  <c:v>0.7470153274248974</c:v>
                </c:pt>
                <c:pt idx="1067">
                  <c:v>0.7787972135454979</c:v>
                </c:pt>
                <c:pt idx="1068">
                  <c:v>0.7979039146332736</c:v>
                </c:pt>
                <c:pt idx="1069">
                  <c:v>0.7979039146332736</c:v>
                </c:pt>
                <c:pt idx="1070">
                  <c:v>0.7979039146332736</c:v>
                </c:pt>
                <c:pt idx="1071">
                  <c:v>0.8012161788263683</c:v>
                </c:pt>
                <c:pt idx="1072">
                  <c:v>0.8345058885849661</c:v>
                </c:pt>
                <c:pt idx="1073">
                  <c:v>0.8349693936206048</c:v>
                </c:pt>
                <c:pt idx="1074">
                  <c:v>0.8717813442155564</c:v>
                </c:pt>
                <c:pt idx="1075">
                  <c:v>0.8883946018081561</c:v>
                </c:pt>
                <c:pt idx="1076">
                  <c:v>0.8883946018081561</c:v>
                </c:pt>
                <c:pt idx="1077">
                  <c:v>0.8883946018081561</c:v>
                </c:pt>
                <c:pt idx="1078">
                  <c:v>0.8900531392061843</c:v>
                </c:pt>
                <c:pt idx="1079">
                  <c:v>0.8528092146765944</c:v>
                </c:pt>
                <c:pt idx="1080">
                  <c:v>0.8648621234801552</c:v>
                </c:pt>
                <c:pt idx="1081">
                  <c:v>0.8689105596287114</c:v>
                </c:pt>
                <c:pt idx="1082">
                  <c:v>0.8995697361794281</c:v>
                </c:pt>
                <c:pt idx="1083">
                  <c:v>0.8995697361794281</c:v>
                </c:pt>
                <c:pt idx="1084">
                  <c:v>0.8995697361794281</c:v>
                </c:pt>
                <c:pt idx="1085">
                  <c:v>0.8928007801946036</c:v>
                </c:pt>
                <c:pt idx="1086">
                  <c:v>0.9151435189524031</c:v>
                </c:pt>
                <c:pt idx="1087">
                  <c:v>0.9025265083919678</c:v>
                </c:pt>
                <c:pt idx="1088">
                  <c:v>0.8793183369486677</c:v>
                </c:pt>
                <c:pt idx="1089">
                  <c:v>0.9047040302525939</c:v>
                </c:pt>
                <c:pt idx="1090">
                  <c:v>0.9047040302525939</c:v>
                </c:pt>
                <c:pt idx="1091">
                  <c:v>0.9047040302525939</c:v>
                </c:pt>
                <c:pt idx="1092">
                  <c:v>0.9058496053699179</c:v>
                </c:pt>
                <c:pt idx="1093">
                  <c:v>0.8755114385368152</c:v>
                </c:pt>
                <c:pt idx="1094">
                  <c:v>0.8677247889349997</c:v>
                </c:pt>
                <c:pt idx="1095">
                  <c:v>0.8718307646977435</c:v>
                </c:pt>
                <c:pt idx="1096">
                  <c:v>0.8425066878544241</c:v>
                </c:pt>
                <c:pt idx="1097">
                  <c:v>0.8425066878544241</c:v>
                </c:pt>
                <c:pt idx="1098">
                  <c:v>0.8425066878544241</c:v>
                </c:pt>
                <c:pt idx="1099">
                  <c:v>0.86235570345278</c:v>
                </c:pt>
                <c:pt idx="1100">
                  <c:v>0.8633932027006559</c:v>
                </c:pt>
                <c:pt idx="1101">
                  <c:v>0.8897003343071135</c:v>
                </c:pt>
                <c:pt idx="1102">
                  <c:v>0.9058502166270899</c:v>
                </c:pt>
                <c:pt idx="1103">
                  <c:v>0.9058241861463487</c:v>
                </c:pt>
                <c:pt idx="1104">
                  <c:v>0.9058241861463487</c:v>
                </c:pt>
                <c:pt idx="1105">
                  <c:v>0.9058241861463487</c:v>
                </c:pt>
                <c:pt idx="1106">
                  <c:v>0.9143004038228795</c:v>
                </c:pt>
                <c:pt idx="1107">
                  <c:v>0.921564582312945</c:v>
                </c:pt>
                <c:pt idx="1108">
                  <c:v>0.9183798177428497</c:v>
                </c:pt>
                <c:pt idx="1109">
                  <c:v>0.9535925684120994</c:v>
                </c:pt>
                <c:pt idx="1110">
                  <c:v>0.9148826758298056</c:v>
                </c:pt>
                <c:pt idx="1111">
                  <c:v>0.9148826758298056</c:v>
                </c:pt>
                <c:pt idx="1112">
                  <c:v>0.9148826758298056</c:v>
                </c:pt>
                <c:pt idx="1113">
                  <c:v>0.9495827385666094</c:v>
                </c:pt>
                <c:pt idx="1114">
                  <c:v>0.9683850475375193</c:v>
                </c:pt>
                <c:pt idx="1115">
                  <c:v>0.9621009688336883</c:v>
                </c:pt>
                <c:pt idx="1116">
                  <c:v>0.9934488735646092</c:v>
                </c:pt>
                <c:pt idx="1117">
                  <c:v>0.9640303918943449</c:v>
                </c:pt>
                <c:pt idx="1118">
                  <c:v>0.9640303918943449</c:v>
                </c:pt>
                <c:pt idx="1119">
                  <c:v>0.9640303918943449</c:v>
                </c:pt>
                <c:pt idx="1120">
                  <c:v>0.9723433816208464</c:v>
                </c:pt>
                <c:pt idx="1121">
                  <c:v>0.9619058392076616</c:v>
                </c:pt>
                <c:pt idx="1122">
                  <c:v>0.9466051154190893</c:v>
                </c:pt>
                <c:pt idx="1123">
                  <c:v>0.9340692695682533</c:v>
                </c:pt>
                <c:pt idx="1124">
                  <c:v>0.9677914810994503</c:v>
                </c:pt>
                <c:pt idx="1125">
                  <c:v>0.9677914810994503</c:v>
                </c:pt>
                <c:pt idx="1126">
                  <c:v>0.9677914810994503</c:v>
                </c:pt>
                <c:pt idx="1127">
                  <c:v>0.9580868808215466</c:v>
                </c:pt>
                <c:pt idx="1128">
                  <c:v>0.9675757906518934</c:v>
                </c:pt>
                <c:pt idx="1129">
                  <c:v>0.9786267203637091</c:v>
                </c:pt>
                <c:pt idx="1130">
                  <c:v>0.9689088017451646</c:v>
                </c:pt>
                <c:pt idx="1131">
                  <c:v>0.991134715334465</c:v>
                </c:pt>
                <c:pt idx="1132">
                  <c:v>0.991134715334465</c:v>
                </c:pt>
                <c:pt idx="1133">
                  <c:v>0.991134715334465</c:v>
                </c:pt>
                <c:pt idx="1134">
                  <c:v>0.9887293338999532</c:v>
                </c:pt>
                <c:pt idx="1135">
                  <c:v>0.9709190637804284</c:v>
                </c:pt>
                <c:pt idx="1136">
                  <c:v>0.9789236327943762</c:v>
                </c:pt>
                <c:pt idx="1137">
                  <c:v>0.9877142384047992</c:v>
                </c:pt>
                <c:pt idx="1138">
                  <c:v>1.0037289365795745</c:v>
                </c:pt>
                <c:pt idx="1139">
                  <c:v>1.0037289365795745</c:v>
                </c:pt>
                <c:pt idx="1140">
                  <c:v>1.0037289365795745</c:v>
                </c:pt>
                <c:pt idx="1141">
                  <c:v>0.9850642718027605</c:v>
                </c:pt>
                <c:pt idx="1142">
                  <c:v>0.9935631288730606</c:v>
                </c:pt>
                <c:pt idx="1143">
                  <c:v>0.9691282600530575</c:v>
                </c:pt>
                <c:pt idx="1144">
                  <c:v>0.9694020283103126</c:v>
                </c:pt>
                <c:pt idx="1145">
                  <c:v>0.9722148764718213</c:v>
                </c:pt>
                <c:pt idx="1146">
                  <c:v>0.9722148764718213</c:v>
                </c:pt>
                <c:pt idx="1147">
                  <c:v>0.9722148764718213</c:v>
                </c:pt>
                <c:pt idx="1148">
                  <c:v>0.97704408824945</c:v>
                </c:pt>
                <c:pt idx="1149">
                  <c:v>0.9818150211223247</c:v>
                </c:pt>
                <c:pt idx="1150">
                  <c:v>0.974390248830731</c:v>
                </c:pt>
                <c:pt idx="1151">
                  <c:v>0.9460188077592984</c:v>
                </c:pt>
                <c:pt idx="1152">
                  <c:v>0.9617427732283135</c:v>
                </c:pt>
                <c:pt idx="1153">
                  <c:v>0.9617427732283135</c:v>
                </c:pt>
                <c:pt idx="1154">
                  <c:v>0.9617427732283135</c:v>
                </c:pt>
                <c:pt idx="1155">
                  <c:v>0.9637547154114698</c:v>
                </c:pt>
                <c:pt idx="1156">
                  <c:v>0.9904467068580374</c:v>
                </c:pt>
                <c:pt idx="1157">
                  <c:v>1.0246387022957868</c:v>
                </c:pt>
                <c:pt idx="1158">
                  <c:v>1.0563312420046382</c:v>
                </c:pt>
                <c:pt idx="1159">
                  <c:v>1.0503664637357932</c:v>
                </c:pt>
                <c:pt idx="1160">
                  <c:v>1.0503664637357932</c:v>
                </c:pt>
                <c:pt idx="1161">
                  <c:v>1.0503664637357932</c:v>
                </c:pt>
                <c:pt idx="1162">
                  <c:v>1.0745382586181624</c:v>
                </c:pt>
                <c:pt idx="1163">
                  <c:v>1.0442211690611303</c:v>
                </c:pt>
                <c:pt idx="1164">
                  <c:v>1.0447601712117733</c:v>
                </c:pt>
                <c:pt idx="1165">
                  <c:v>1.0452949268249712</c:v>
                </c:pt>
                <c:pt idx="1166">
                  <c:v>1.029767863284544</c:v>
                </c:pt>
                <c:pt idx="1167">
                  <c:v>1.029767863284544</c:v>
                </c:pt>
                <c:pt idx="1168">
                  <c:v>1.029767863284544</c:v>
                </c:pt>
                <c:pt idx="1169">
                  <c:v>1.0485231605221732</c:v>
                </c:pt>
                <c:pt idx="1170">
                  <c:v>1.0477484262985874</c:v>
                </c:pt>
                <c:pt idx="1171">
                  <c:v>1.0609811357524994</c:v>
                </c:pt>
                <c:pt idx="1172">
                  <c:v>1.072424046684298</c:v>
                </c:pt>
                <c:pt idx="1173">
                  <c:v>1.072073574793361</c:v>
                </c:pt>
                <c:pt idx="1174">
                  <c:v>1.072073574793361</c:v>
                </c:pt>
                <c:pt idx="1175">
                  <c:v>1.072073574793361</c:v>
                </c:pt>
                <c:pt idx="1176">
                  <c:v>1.0825007876397246</c:v>
                </c:pt>
                <c:pt idx="1177">
                  <c:v>1.0828431935162075</c:v>
                </c:pt>
                <c:pt idx="1178">
                  <c:v>1.0748056011593365</c:v>
                </c:pt>
                <c:pt idx="1179">
                  <c:v>1.0591682268165048</c:v>
                </c:pt>
                <c:pt idx="1180">
                  <c:v>1.0489762715982995</c:v>
                </c:pt>
                <c:pt idx="1181">
                  <c:v>1.0489762715982995</c:v>
                </c:pt>
                <c:pt idx="1182">
                  <c:v>1.0489762715982995</c:v>
                </c:pt>
                <c:pt idx="1183">
                  <c:v>1.0460582650658719</c:v>
                </c:pt>
                <c:pt idx="1184">
                  <c:v>1.0526900899426268</c:v>
                </c:pt>
                <c:pt idx="1185">
                  <c:v>1.0735302829802613</c:v>
                </c:pt>
                <c:pt idx="1186">
                  <c:v>1.0785813527086763</c:v>
                </c:pt>
                <c:pt idx="1187">
                  <c:v>1.0811027265696849</c:v>
                </c:pt>
                <c:pt idx="1188">
                  <c:v>1.0811027265696849</c:v>
                </c:pt>
                <c:pt idx="1189">
                  <c:v>1.0811027265696849</c:v>
                </c:pt>
                <c:pt idx="1190">
                  <c:v>1.0894356877496292</c:v>
                </c:pt>
                <c:pt idx="1191">
                  <c:v>1.0808609416592225</c:v>
                </c:pt>
                <c:pt idx="1192">
                  <c:v>1.1129386156623053</c:v>
                </c:pt>
                <c:pt idx="1193">
                  <c:v>1.096271817161397</c:v>
                </c:pt>
                <c:pt idx="1194">
                  <c:v>1.1051943741508437</c:v>
                </c:pt>
                <c:pt idx="1195">
                  <c:v>1.1051943741508437</c:v>
                </c:pt>
                <c:pt idx="1196">
                  <c:v>1.1051943741508437</c:v>
                </c:pt>
                <c:pt idx="1197">
                  <c:v>1.1062767132872096</c:v>
                </c:pt>
                <c:pt idx="1198">
                  <c:v>1.1062357470538413</c:v>
                </c:pt>
                <c:pt idx="1199">
                  <c:v>1.0449213393472667</c:v>
                </c:pt>
                <c:pt idx="1200">
                  <c:v>1.0415363100976616</c:v>
                </c:pt>
                <c:pt idx="1201">
                  <c:v>1.057842547737454</c:v>
                </c:pt>
                <c:pt idx="1202">
                  <c:v>1.057842547737454</c:v>
                </c:pt>
                <c:pt idx="1203">
                  <c:v>1.057842547737454</c:v>
                </c:pt>
                <c:pt idx="1204">
                  <c:v>1.061879382237517</c:v>
                </c:pt>
                <c:pt idx="1205">
                  <c:v>1.0900079998253642</c:v>
                </c:pt>
                <c:pt idx="1206">
                  <c:v>1.0863686591803865</c:v>
                </c:pt>
                <c:pt idx="1207">
                  <c:v>1.088109509866373</c:v>
                </c:pt>
                <c:pt idx="1208">
                  <c:v>1.0701881237506878</c:v>
                </c:pt>
                <c:pt idx="1209">
                  <c:v>1.0701881237506878</c:v>
                </c:pt>
                <c:pt idx="1210">
                  <c:v>1.0701881237506878</c:v>
                </c:pt>
                <c:pt idx="1211">
                  <c:v>1.0584203833549597</c:v>
                </c:pt>
                <c:pt idx="1212">
                  <c:v>1.0583369670892608</c:v>
                </c:pt>
                <c:pt idx="1213">
                  <c:v>1.0583369670892608</c:v>
                </c:pt>
                <c:pt idx="1214">
                  <c:v>1.0543078166041089</c:v>
                </c:pt>
                <c:pt idx="1215">
                  <c:v>1.0752455603020654</c:v>
                </c:pt>
                <c:pt idx="1216">
                  <c:v>1.0752455603020654</c:v>
                </c:pt>
                <c:pt idx="1217">
                  <c:v>1.0752455603020654</c:v>
                </c:pt>
                <c:pt idx="1218">
                  <c:v>1.0879055746619768</c:v>
                </c:pt>
                <c:pt idx="1219">
                  <c:v>1.0768748729164304</c:v>
                </c:pt>
                <c:pt idx="1220">
                  <c:v>1.089050005744273</c:v>
                </c:pt>
                <c:pt idx="1221">
                  <c:v>1.08287761860268</c:v>
                </c:pt>
                <c:pt idx="1222">
                  <c:v>1.0341828829329653</c:v>
                </c:pt>
                <c:pt idx="1223">
                  <c:v>1.0341828829329653</c:v>
                </c:pt>
                <c:pt idx="1224">
                  <c:v>1.0341828829329653</c:v>
                </c:pt>
                <c:pt idx="1225">
                  <c:v>1.031813618153711</c:v>
                </c:pt>
                <c:pt idx="1226">
                  <c:v>1.0220522412761555</c:v>
                </c:pt>
                <c:pt idx="1227">
                  <c:v>1.0716236375854207</c:v>
                </c:pt>
                <c:pt idx="1228">
                  <c:v>1.072747613496703</c:v>
                </c:pt>
                <c:pt idx="1229">
                  <c:v>1.0920834093820946</c:v>
                </c:pt>
                <c:pt idx="1230">
                  <c:v>1.0920834093820946</c:v>
                </c:pt>
                <c:pt idx="1231">
                  <c:v>1.0920834093820946</c:v>
                </c:pt>
                <c:pt idx="1232">
                  <c:v>1.0907107344773106</c:v>
                </c:pt>
                <c:pt idx="1233">
                  <c:v>1.1194353732417919</c:v>
                </c:pt>
                <c:pt idx="1234">
                  <c:v>1.1260656946019778</c:v>
                </c:pt>
                <c:pt idx="1235">
                  <c:v>1.1420321800039526</c:v>
                </c:pt>
                <c:pt idx="1236">
                  <c:v>1.1388148504041746</c:v>
                </c:pt>
                <c:pt idx="1237">
                  <c:v>1.1388148504041746</c:v>
                </c:pt>
                <c:pt idx="1238">
                  <c:v>1.1388148504041746</c:v>
                </c:pt>
                <c:pt idx="1239">
                  <c:v>1.1043904699667584</c:v>
                </c:pt>
                <c:pt idx="1240">
                  <c:v>1.1300045200212918</c:v>
                </c:pt>
                <c:pt idx="1241">
                  <c:v>1.1253630214380794</c:v>
                </c:pt>
                <c:pt idx="1242">
                  <c:v>1.1451581795680101</c:v>
                </c:pt>
                <c:pt idx="1243">
                  <c:v>1.1307208717660693</c:v>
                </c:pt>
                <c:pt idx="1244">
                  <c:v>1.1307208717660693</c:v>
                </c:pt>
                <c:pt idx="1245">
                  <c:v>1.1307208717660693</c:v>
                </c:pt>
                <c:pt idx="1246">
                  <c:v>1.1499662737882592</c:v>
                </c:pt>
                <c:pt idx="1247">
                  <c:v>1.1238112639466458</c:v>
                </c:pt>
                <c:pt idx="1248">
                  <c:v>1.157546732107079</c:v>
                </c:pt>
                <c:pt idx="1249">
                  <c:v>1.158162301719702</c:v>
                </c:pt>
                <c:pt idx="1250">
                  <c:v>1.1445600232913047</c:v>
                </c:pt>
                <c:pt idx="1251">
                  <c:v>1.1445600232913047</c:v>
                </c:pt>
                <c:pt idx="1252">
                  <c:v>1.1445600232913047</c:v>
                </c:pt>
                <c:pt idx="1253">
                  <c:v>1.1633639588014884</c:v>
                </c:pt>
                <c:pt idx="1254">
                  <c:v>1.1557408156994802</c:v>
                </c:pt>
                <c:pt idx="1255">
                  <c:v>1.1514513881257105</c:v>
                </c:pt>
                <c:pt idx="1256">
                  <c:v>1.177406095777222</c:v>
                </c:pt>
                <c:pt idx="1257">
                  <c:v>1.1801823321525178</c:v>
                </c:pt>
                <c:pt idx="1258">
                  <c:v>1.1801823321525178</c:v>
                </c:pt>
                <c:pt idx="1259">
                  <c:v>1.1801823321525178</c:v>
                </c:pt>
                <c:pt idx="1260">
                  <c:v>1.1859203203118622</c:v>
                </c:pt>
                <c:pt idx="1261">
                  <c:v>1.1974634917428326</c:v>
                </c:pt>
                <c:pt idx="1262">
                  <c:v>1.1885057526354608</c:v>
                </c:pt>
                <c:pt idx="1263">
                  <c:v>1.1985772555109246</c:v>
                </c:pt>
                <c:pt idx="1264">
                  <c:v>1.165198713658865</c:v>
                </c:pt>
                <c:pt idx="1265">
                  <c:v>1.165198713658865</c:v>
                </c:pt>
                <c:pt idx="1266">
                  <c:v>1.165198713658865</c:v>
                </c:pt>
                <c:pt idx="1267">
                  <c:v>1.155072533208024</c:v>
                </c:pt>
                <c:pt idx="1268">
                  <c:v>1.1542335434644233</c:v>
                </c:pt>
                <c:pt idx="1269">
                  <c:v>1.157176033842815</c:v>
                </c:pt>
                <c:pt idx="1270">
                  <c:v>1.1342561003628444</c:v>
                </c:pt>
                <c:pt idx="1271">
                  <c:v>1.1611569036390144</c:v>
                </c:pt>
                <c:pt idx="1272">
                  <c:v>1.1611569036390144</c:v>
                </c:pt>
                <c:pt idx="1273">
                  <c:v>1.1611569036390144</c:v>
                </c:pt>
                <c:pt idx="1274">
                  <c:v>1.1466121679197845</c:v>
                </c:pt>
                <c:pt idx="1275">
                  <c:v>1.137410703922487</c:v>
                </c:pt>
                <c:pt idx="1276">
                  <c:v>1.170716755383125</c:v>
                </c:pt>
                <c:pt idx="1277">
                  <c:v>1.139270517660262</c:v>
                </c:pt>
                <c:pt idx="1278">
                  <c:v>1.1683502350518236</c:v>
                </c:pt>
                <c:pt idx="1279">
                  <c:v>1.1683502350518236</c:v>
                </c:pt>
                <c:pt idx="1280">
                  <c:v>1.1683502350518236</c:v>
                </c:pt>
                <c:pt idx="1281">
                  <c:v>1.0890458707595614</c:v>
                </c:pt>
                <c:pt idx="1282">
                  <c:v>1.0837892333327335</c:v>
                </c:pt>
                <c:pt idx="1283">
                  <c:v>1.0966410463943026</c:v>
                </c:pt>
                <c:pt idx="1284">
                  <c:v>1.070492110144993</c:v>
                </c:pt>
                <c:pt idx="1285">
                  <c:v>1.1138532232185092</c:v>
                </c:pt>
                <c:pt idx="1286">
                  <c:v>1.1138532232185092</c:v>
                </c:pt>
                <c:pt idx="1287">
                  <c:v>1.1138532232185092</c:v>
                </c:pt>
                <c:pt idx="1288">
                  <c:v>1.132349537095894</c:v>
                </c:pt>
                <c:pt idx="1289">
                  <c:v>1.1270847580162897</c:v>
                </c:pt>
                <c:pt idx="1290">
                  <c:v>1.1465491035992907</c:v>
                </c:pt>
                <c:pt idx="1291">
                  <c:v>1.1405470844599956</c:v>
                </c:pt>
                <c:pt idx="1292">
                  <c:v>1.1391964789722229</c:v>
                </c:pt>
                <c:pt idx="1293">
                  <c:v>1.1391964789722229</c:v>
                </c:pt>
                <c:pt idx="1294">
                  <c:v>1.1391964789722229</c:v>
                </c:pt>
                <c:pt idx="1295">
                  <c:v>1.1709072574760095</c:v>
                </c:pt>
                <c:pt idx="1296">
                  <c:v>1.1755137128856035</c:v>
                </c:pt>
                <c:pt idx="1297">
                  <c:v>1.157612874949824</c:v>
                </c:pt>
                <c:pt idx="1298">
                  <c:v>1.1436238359618245</c:v>
                </c:pt>
                <c:pt idx="1299">
                  <c:v>1.1021335481076204</c:v>
                </c:pt>
                <c:pt idx="1300">
                  <c:v>1.1021335481076204</c:v>
                </c:pt>
                <c:pt idx="1301">
                  <c:v>1.1021335481076204</c:v>
                </c:pt>
                <c:pt idx="1302">
                  <c:v>1.0640074088564409</c:v>
                </c:pt>
                <c:pt idx="1303">
                  <c:v>1.071314167001863</c:v>
                </c:pt>
                <c:pt idx="1304">
                  <c:v>1.0756731607866206</c:v>
                </c:pt>
                <c:pt idx="1305">
                  <c:v>0.980409476658634</c:v>
                </c:pt>
                <c:pt idx="1306">
                  <c:v>0.8531649786415163</c:v>
                </c:pt>
                <c:pt idx="1307">
                  <c:v>0.8531649786415163</c:v>
                </c:pt>
                <c:pt idx="1308">
                  <c:v>0.8531649786415163</c:v>
                </c:pt>
                <c:pt idx="1309">
                  <c:v>0.8432611187066856</c:v>
                </c:pt>
                <c:pt idx="1310">
                  <c:v>0.8249713588009684</c:v>
                </c:pt>
                <c:pt idx="1311">
                  <c:v>0.9752625890168201</c:v>
                </c:pt>
                <c:pt idx="1312">
                  <c:v>0.9303310830769547</c:v>
                </c:pt>
                <c:pt idx="1313">
                  <c:v>0.9726576505928517</c:v>
                </c:pt>
                <c:pt idx="1314">
                  <c:v>0.9726576505928517</c:v>
                </c:pt>
                <c:pt idx="1315">
                  <c:v>0.9726576505928517</c:v>
                </c:pt>
                <c:pt idx="1316">
                  <c:v>1.0007898641747062</c:v>
                </c:pt>
                <c:pt idx="1317">
                  <c:v>1.0098087335073727</c:v>
                </c:pt>
                <c:pt idx="1318">
                  <c:v>0.9814902161361505</c:v>
                </c:pt>
                <c:pt idx="1319">
                  <c:v>0.990362824661827</c:v>
                </c:pt>
                <c:pt idx="1320">
                  <c:v>0.990362824661827</c:v>
                </c:pt>
                <c:pt idx="1321">
                  <c:v>0.990362824661827</c:v>
                </c:pt>
                <c:pt idx="1322">
                  <c:v>0.990362824661827</c:v>
                </c:pt>
                <c:pt idx="1323">
                  <c:v>0.958202620056438</c:v>
                </c:pt>
                <c:pt idx="1324">
                  <c:v>1.0077268156259156</c:v>
                </c:pt>
                <c:pt idx="1325">
                  <c:v>1.0332979974432939</c:v>
                </c:pt>
                <c:pt idx="1326">
                  <c:v>1.0630598735394812</c:v>
                </c:pt>
                <c:pt idx="1327">
                  <c:v>1.055474597741183</c:v>
                </c:pt>
                <c:pt idx="1328">
                  <c:v>1.055474597741183</c:v>
                </c:pt>
                <c:pt idx="1329">
                  <c:v>1.055474597741183</c:v>
                </c:pt>
                <c:pt idx="1330">
                  <c:v>1.0460435289827124</c:v>
                </c:pt>
                <c:pt idx="1331">
                  <c:v>1.0570536837849684</c:v>
                </c:pt>
                <c:pt idx="1332">
                  <c:v>1.0596018117574455</c:v>
                </c:pt>
                <c:pt idx="1333">
                  <c:v>1.0561572875598375</c:v>
                </c:pt>
                <c:pt idx="1334">
                  <c:v>1.0979084267387598</c:v>
                </c:pt>
                <c:pt idx="1335">
                  <c:v>1.0979084267387598</c:v>
                </c:pt>
                <c:pt idx="1336">
                  <c:v>1.0979084267387598</c:v>
                </c:pt>
                <c:pt idx="1337">
                  <c:v>1.0869940864567313</c:v>
                </c:pt>
                <c:pt idx="1338">
                  <c:v>1.0546056679656584</c:v>
                </c:pt>
                <c:pt idx="1339">
                  <c:v>1.0168577860297328</c:v>
                </c:pt>
                <c:pt idx="1340">
                  <c:v>1.0012699378774177</c:v>
                </c:pt>
                <c:pt idx="1341">
                  <c:v>0.9868705761738266</c:v>
                </c:pt>
                <c:pt idx="1342">
                  <c:v>0.9868705761738266</c:v>
                </c:pt>
                <c:pt idx="1343">
                  <c:v>0.9868705761738266</c:v>
                </c:pt>
                <c:pt idx="1344">
                  <c:v>1.0204465771269415</c:v>
                </c:pt>
                <c:pt idx="1345">
                  <c:v>1.0292041372362881</c:v>
                </c:pt>
                <c:pt idx="1346">
                  <c:v>1.0471884001937015</c:v>
                </c:pt>
                <c:pt idx="1347">
                  <c:v>1.0714963459365179</c:v>
                </c:pt>
                <c:pt idx="1348">
                  <c:v>1.0865396686491668</c:v>
                </c:pt>
                <c:pt idx="1349">
                  <c:v>1.0865396686491668</c:v>
                </c:pt>
                <c:pt idx="1350">
                  <c:v>1.0865396686491668</c:v>
                </c:pt>
                <c:pt idx="1351">
                  <c:v>1.1079697765805925</c:v>
                </c:pt>
                <c:pt idx="1352">
                  <c:v>1.1108651239052953</c:v>
                </c:pt>
                <c:pt idx="1353">
                  <c:v>1.0934898890016957</c:v>
                </c:pt>
                <c:pt idx="1354">
                  <c:v>1.099887894331363</c:v>
                </c:pt>
                <c:pt idx="1355">
                  <c:v>1.0973578000353554</c:v>
                </c:pt>
                <c:pt idx="1356">
                  <c:v>1.0973578000353554</c:v>
                </c:pt>
                <c:pt idx="1357">
                  <c:v>1.0973578000353554</c:v>
                </c:pt>
                <c:pt idx="1358">
                  <c:v>1.10201059732392</c:v>
                </c:pt>
                <c:pt idx="1359">
                  <c:v>1.1624975376085778</c:v>
                </c:pt>
                <c:pt idx="1360">
                  <c:v>1.0999686901740424</c:v>
                </c:pt>
                <c:pt idx="1361">
                  <c:v>1.0615990012364644</c:v>
                </c:pt>
                <c:pt idx="1362">
                  <c:v>1.0656531736662989</c:v>
                </c:pt>
                <c:pt idx="1363">
                  <c:v>1.0656531736662989</c:v>
                </c:pt>
                <c:pt idx="1364">
                  <c:v>1.0656531736662989</c:v>
                </c:pt>
                <c:pt idx="1365">
                  <c:v>1.0830473931816558</c:v>
                </c:pt>
                <c:pt idx="1366">
                  <c:v>1.1002032919892137</c:v>
                </c:pt>
                <c:pt idx="1367">
                  <c:v>1.1200193392977136</c:v>
                </c:pt>
                <c:pt idx="1368">
                  <c:v>1.0276923245968215</c:v>
                </c:pt>
                <c:pt idx="1369">
                  <c:v>1.0641831031848539</c:v>
                </c:pt>
                <c:pt idx="1370">
                  <c:v>1.0641831031848539</c:v>
                </c:pt>
                <c:pt idx="1371">
                  <c:v>1.0641831031848539</c:v>
                </c:pt>
                <c:pt idx="1372">
                  <c:v>0.9667583193764524</c:v>
                </c:pt>
                <c:pt idx="1373">
                  <c:v>0.9808001736679197</c:v>
                </c:pt>
                <c:pt idx="1374">
                  <c:v>0.9933363713090431</c:v>
                </c:pt>
                <c:pt idx="1375">
                  <c:v>0.9786059006679213</c:v>
                </c:pt>
                <c:pt idx="1376">
                  <c:v>0.9389887212990646</c:v>
                </c:pt>
                <c:pt idx="1377">
                  <c:v>0.9389887212990646</c:v>
                </c:pt>
                <c:pt idx="1378">
                  <c:v>0.9389887212990646</c:v>
                </c:pt>
                <c:pt idx="1379">
                  <c:v>0.9160546176791127</c:v>
                </c:pt>
                <c:pt idx="1380">
                  <c:v>0.9100517799450378</c:v>
                </c:pt>
                <c:pt idx="1381">
                  <c:v>0.9183168568722777</c:v>
                </c:pt>
                <c:pt idx="1382">
                  <c:v>0.8890157816326969</c:v>
                </c:pt>
                <c:pt idx="1383">
                  <c:v>0.8365892115113434</c:v>
                </c:pt>
                <c:pt idx="1384">
                  <c:v>0.8365892115113434</c:v>
                </c:pt>
                <c:pt idx="1385">
                  <c:v>0.8365892115113434</c:v>
                </c:pt>
                <c:pt idx="1386">
                  <c:v>0.8304267000311858</c:v>
                </c:pt>
                <c:pt idx="1387">
                  <c:v>0.8625611589903148</c:v>
                </c:pt>
                <c:pt idx="1388">
                  <c:v>0.8755240496520245</c:v>
                </c:pt>
                <c:pt idx="1389">
                  <c:v>0.8947990145569653</c:v>
                </c:pt>
                <c:pt idx="1390">
                  <c:v>0.9115881206926586</c:v>
                </c:pt>
                <c:pt idx="1391">
                  <c:v>0.9115881206926586</c:v>
                </c:pt>
                <c:pt idx="1392">
                  <c:v>0.9115881206926586</c:v>
                </c:pt>
                <c:pt idx="1393">
                  <c:v>0.929528590734777</c:v>
                </c:pt>
                <c:pt idx="1394">
                  <c:v>0.9462832642264096</c:v>
                </c:pt>
                <c:pt idx="1395">
                  <c:v>0.9542738539679394</c:v>
                </c:pt>
                <c:pt idx="1396">
                  <c:v>0.9724840046199437</c:v>
                </c:pt>
                <c:pt idx="1397">
                  <c:v>0.9862055887117789</c:v>
                </c:pt>
                <c:pt idx="1398">
                  <c:v>0.9862055887117789</c:v>
                </c:pt>
                <c:pt idx="1399">
                  <c:v>0.9862055887117789</c:v>
                </c:pt>
                <c:pt idx="1400">
                  <c:v>0.976702670229685</c:v>
                </c:pt>
                <c:pt idx="1401">
                  <c:v>0.9804032052276948</c:v>
                </c:pt>
                <c:pt idx="1402">
                  <c:v>0.9896686856316625</c:v>
                </c:pt>
                <c:pt idx="1403">
                  <c:v>1.0031861585776607</c:v>
                </c:pt>
                <c:pt idx="1404">
                  <c:v>0.9206480649986069</c:v>
                </c:pt>
                <c:pt idx="1405">
                  <c:v>0.9206480649986069</c:v>
                </c:pt>
                <c:pt idx="1406">
                  <c:v>0.9206480649986069</c:v>
                </c:pt>
                <c:pt idx="1407">
                  <c:v>0.8989733241363849</c:v>
                </c:pt>
                <c:pt idx="1408">
                  <c:v>0.8956647129899216</c:v>
                </c:pt>
                <c:pt idx="1409">
                  <c:v>0.8734282100912363</c:v>
                </c:pt>
                <c:pt idx="1410">
                  <c:v>0.8780605189391297</c:v>
                </c:pt>
                <c:pt idx="1411">
                  <c:v>0.9210513952324935</c:v>
                </c:pt>
                <c:pt idx="1412">
                  <c:v>0.9210513952324935</c:v>
                </c:pt>
                <c:pt idx="1413">
                  <c:v>0.9210513952324935</c:v>
                </c:pt>
                <c:pt idx="1414">
                  <c:v>0.9018388861636808</c:v>
                </c:pt>
                <c:pt idx="1415">
                  <c:v>0.8989101709005292</c:v>
                </c:pt>
                <c:pt idx="1416">
                  <c:v>0.934449918555631</c:v>
                </c:pt>
                <c:pt idx="1417">
                  <c:v>0.9388035484184818</c:v>
                </c:pt>
                <c:pt idx="1418">
                  <c:v>0.9509018747233853</c:v>
                </c:pt>
                <c:pt idx="1419">
                  <c:v>0.9509018747233853</c:v>
                </c:pt>
                <c:pt idx="1420">
                  <c:v>0.9509018747233853</c:v>
                </c:pt>
                <c:pt idx="1421">
                  <c:v>0.9387624964010863</c:v>
                </c:pt>
                <c:pt idx="1422">
                  <c:v>0.9497837168369665</c:v>
                </c:pt>
                <c:pt idx="1423">
                  <c:v>0.9047915889857281</c:v>
                </c:pt>
                <c:pt idx="1424">
                  <c:v>0.894235588851862</c:v>
                </c:pt>
                <c:pt idx="1425">
                  <c:v>0.8687591207816883</c:v>
                </c:pt>
                <c:pt idx="1426">
                  <c:v>0.8687591207816883</c:v>
                </c:pt>
                <c:pt idx="1427">
                  <c:v>0.8687591207816883</c:v>
                </c:pt>
                <c:pt idx="1428">
                  <c:v>0.8591613935629587</c:v>
                </c:pt>
                <c:pt idx="1429">
                  <c:v>0.885418836761396</c:v>
                </c:pt>
                <c:pt idx="1430">
                  <c:v>0.9102634862259811</c:v>
                </c:pt>
                <c:pt idx="1431">
                  <c:v>0.9141598950356664</c:v>
                </c:pt>
                <c:pt idx="1432">
                  <c:v>0.940757048416131</c:v>
                </c:pt>
                <c:pt idx="1433">
                  <c:v>0.940757048416131</c:v>
                </c:pt>
                <c:pt idx="1434">
                  <c:v>0.940757048416131</c:v>
                </c:pt>
                <c:pt idx="1435">
                  <c:v>0.9303764643581107</c:v>
                </c:pt>
                <c:pt idx="1436">
                  <c:v>0.9611847001675209</c:v>
                </c:pt>
                <c:pt idx="1437">
                  <c:v>0.9548212620833165</c:v>
                </c:pt>
                <c:pt idx="1438">
                  <c:v>0.9483601552254879</c:v>
                </c:pt>
                <c:pt idx="1439">
                  <c:v>0.9483195361248828</c:v>
                </c:pt>
                <c:pt idx="1440">
                  <c:v>0.9483195361248828</c:v>
                </c:pt>
                <c:pt idx="1441">
                  <c:v>0.9483195361248828</c:v>
                </c:pt>
                <c:pt idx="1442">
                  <c:v>0.9577991019152972</c:v>
                </c:pt>
                <c:pt idx="1443">
                  <c:v>0.9585357214240975</c:v>
                </c:pt>
                <c:pt idx="1444">
                  <c:v>0.9568854335398209</c:v>
                </c:pt>
                <c:pt idx="1445">
                  <c:v>0.9523753966895756</c:v>
                </c:pt>
                <c:pt idx="1446">
                  <c:v>0.9677061991337572</c:v>
                </c:pt>
                <c:pt idx="1447">
                  <c:v>0.9677061991337572</c:v>
                </c:pt>
                <c:pt idx="1448">
                  <c:v>0.9677061991337572</c:v>
                </c:pt>
                <c:pt idx="1449">
                  <c:v>0.9341193473832912</c:v>
                </c:pt>
                <c:pt idx="1450">
                  <c:v>0.972949092915911</c:v>
                </c:pt>
                <c:pt idx="1451">
                  <c:v>0.9763818264960107</c:v>
                </c:pt>
                <c:pt idx="1452">
                  <c:v>0.988978083136461</c:v>
                </c:pt>
                <c:pt idx="1453">
                  <c:v>0.9817805669447266</c:v>
                </c:pt>
                <c:pt idx="1454">
                  <c:v>0.9817805669447266</c:v>
                </c:pt>
                <c:pt idx="1455">
                  <c:v>0.9817805669447266</c:v>
                </c:pt>
                <c:pt idx="1456">
                  <c:v>0.9926928327369595</c:v>
                </c:pt>
                <c:pt idx="1457">
                  <c:v>0.9844021664548606</c:v>
                </c:pt>
                <c:pt idx="1458">
                  <c:v>0.9993108821643919</c:v>
                </c:pt>
                <c:pt idx="1459">
                  <c:v>1.0201499064976147</c:v>
                </c:pt>
                <c:pt idx="1460">
                  <c:v>1.023901532844579</c:v>
                </c:pt>
                <c:pt idx="1461">
                  <c:v>1.023901532844579</c:v>
                </c:pt>
                <c:pt idx="1462">
                  <c:v>1.023901532844579</c:v>
                </c:pt>
                <c:pt idx="1463">
                  <c:v>1.034569881937876</c:v>
                </c:pt>
                <c:pt idx="1464">
                  <c:v>1.0451028790444323</c:v>
                </c:pt>
                <c:pt idx="1465">
                  <c:v>1.0562044335314908</c:v>
                </c:pt>
                <c:pt idx="1466">
                  <c:v>1.0933251756286317</c:v>
                </c:pt>
                <c:pt idx="1467">
                  <c:v>1.0594886095087293</c:v>
                </c:pt>
                <c:pt idx="1468">
                  <c:v>1.0594886095087293</c:v>
                </c:pt>
                <c:pt idx="1469">
                  <c:v>1.0594886095087293</c:v>
                </c:pt>
                <c:pt idx="1470">
                  <c:v>1.0658151413225916</c:v>
                </c:pt>
                <c:pt idx="1471">
                  <c:v>1.053480791800414</c:v>
                </c:pt>
                <c:pt idx="1472">
                  <c:v>1.0314805830077889</c:v>
                </c:pt>
                <c:pt idx="1473">
                  <c:v>1.0430914961883677</c:v>
                </c:pt>
                <c:pt idx="1474">
                  <c:v>1.0599298773134431</c:v>
                </c:pt>
                <c:pt idx="1475">
                  <c:v>1.0599298773134431</c:v>
                </c:pt>
                <c:pt idx="1476">
                  <c:v>1.0599298773134431</c:v>
                </c:pt>
                <c:pt idx="1477">
                  <c:v>1.0781653868654937</c:v>
                </c:pt>
                <c:pt idx="1478">
                  <c:v>1.0784454601928868</c:v>
                </c:pt>
                <c:pt idx="1479">
                  <c:v>1.053483881433543</c:v>
                </c:pt>
                <c:pt idx="1480">
                  <c:v>1.051475783900785</c:v>
                </c:pt>
                <c:pt idx="1481">
                  <c:v>1.0674936859410091</c:v>
                </c:pt>
                <c:pt idx="1482">
                  <c:v>1.0674936859410091</c:v>
                </c:pt>
                <c:pt idx="1483">
                  <c:v>1.0674936859410091</c:v>
                </c:pt>
                <c:pt idx="1484">
                  <c:v>1.0620667083279032</c:v>
                </c:pt>
                <c:pt idx="1485">
                  <c:v>1.0853532112578637</c:v>
                </c:pt>
              </c:numCache>
            </c:numRef>
          </c:val>
          <c:smooth val="0"/>
          <c:extLst>
            <c:ext xmlns:c16="http://schemas.microsoft.com/office/drawing/2014/chart" uri="{C3380CC4-5D6E-409C-BE32-E72D297353CC}">
              <c16:uniqueId val="{00000003-1D55-4091-B462-1B341D70D85C}"/>
            </c:ext>
          </c:extLst>
        </c:ser>
        <c:dLbls>
          <c:showLegendKey val="0"/>
          <c:showVal val="0"/>
          <c:showCatName val="0"/>
          <c:showSerName val="0"/>
          <c:showPercent val="0"/>
          <c:showBubbleSize val="0"/>
        </c:dLbls>
        <c:smooth val="0"/>
        <c:axId val="155939519"/>
        <c:axId val="155939999"/>
      </c:lineChart>
      <c:dateAx>
        <c:axId val="155939519"/>
        <c:scaling>
          <c:orientation val="minMax"/>
        </c:scaling>
        <c:delete val="0"/>
        <c:axPos val="b"/>
        <c:numFmt formatCode="[$-409]mmm/yy;@" sourceLinked="0"/>
        <c:majorTickMark val="none"/>
        <c:minorTickMark val="none"/>
        <c:tickLblPos val="low"/>
        <c:spPr>
          <a:noFill/>
          <a:ln w="9525" cap="flat" cmpd="sng" algn="ctr">
            <a:solidFill>
              <a:srgbClr val="979797"/>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999"/>
        <c:crosses val="autoZero"/>
        <c:auto val="1"/>
        <c:lblOffset val="100"/>
        <c:baseTimeUnit val="days"/>
      </c:dateAx>
      <c:valAx>
        <c:axId val="155939999"/>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 sourceLinked="0"/>
        <c:majorTickMark val="none"/>
        <c:minorTickMark val="none"/>
        <c:tickLblPos val="nextTo"/>
        <c:spPr>
          <a:noFill/>
          <a:ln w="9525">
            <a:no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519"/>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800">
          <a:solidFill>
            <a:schemeClr val="bg1"/>
          </a:solidFill>
          <a:latin typeface="Bierstadt" panose="020B0004020202020204" pitchFamily="34" charset="0"/>
          <a:ea typeface="Bierstadt"/>
          <a:cs typeface="Bierstadt"/>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4582208615920292"/>
          <c:w val="0.45478027332406218"/>
          <c:h val="0.5971060515317913"/>
        </c:manualLayout>
      </c:layout>
      <c:doughnutChart>
        <c:varyColors val="0"/>
        <c:ser>
          <c:idx val="0"/>
          <c:order val="0"/>
          <c:tx>
            <c:strRef>
              <c:f>Sheet1!$B$1</c:f>
              <c:strCache>
                <c:ptCount val="1"/>
                <c:pt idx="0">
                  <c:v>Weight</c:v>
                </c:pt>
              </c:strCache>
            </c:strRef>
          </c:tx>
          <c:spPr>
            <a:solidFill>
              <a:schemeClr val="bg1">
                <a:alpha val="70000"/>
              </a:schemeClr>
            </a:solidFill>
            <a:ln w="19050">
              <a:solidFill>
                <a:schemeClr val="lt1"/>
              </a:solidFill>
            </a:ln>
            <a:effectLst/>
          </c:spPr>
          <c:dPt>
            <c:idx val="0"/>
            <c:bubble3D val="0"/>
            <c:spPr>
              <a:solidFill>
                <a:schemeClr val="bg1">
                  <a:lumMod val="95000"/>
                  <a:alpha val="70000"/>
                </a:schemeClr>
              </a:solidFill>
              <a:ln w="19050">
                <a:solidFill>
                  <a:schemeClr val="lt1"/>
                </a:solidFill>
              </a:ln>
              <a:effectLst/>
            </c:spPr>
            <c:extLst>
              <c:ext xmlns:c16="http://schemas.microsoft.com/office/drawing/2014/chart" uri="{C3380CC4-5D6E-409C-BE32-E72D297353CC}">
                <c16:uniqueId val="{00000001-0B11-408B-B9A7-2C2984287608}"/>
              </c:ext>
            </c:extLst>
          </c:dPt>
          <c:dPt>
            <c:idx val="1"/>
            <c:bubble3D val="0"/>
            <c:spPr>
              <a:solidFill>
                <a:schemeClr val="bg1">
                  <a:alpha val="70000"/>
                </a:schemeClr>
              </a:solidFill>
              <a:ln w="19050">
                <a:solidFill>
                  <a:schemeClr val="lt1"/>
                </a:solidFill>
              </a:ln>
              <a:effectLst/>
            </c:spPr>
            <c:extLst>
              <c:ext xmlns:c16="http://schemas.microsoft.com/office/drawing/2014/chart" uri="{C3380CC4-5D6E-409C-BE32-E72D297353CC}">
                <c16:uniqueId val="{00000003-0B11-408B-B9A7-2C2984287608}"/>
              </c:ext>
            </c:extLst>
          </c:dPt>
          <c:dPt>
            <c:idx val="2"/>
            <c:bubble3D val="0"/>
            <c:spPr>
              <a:solidFill>
                <a:schemeClr val="accent6">
                  <a:lumMod val="50000"/>
                  <a:alpha val="50000"/>
                </a:schemeClr>
              </a:solidFill>
              <a:ln w="19050">
                <a:solidFill>
                  <a:schemeClr val="lt1"/>
                </a:solidFill>
              </a:ln>
              <a:effectLst/>
            </c:spPr>
            <c:extLst>
              <c:ext xmlns:c16="http://schemas.microsoft.com/office/drawing/2014/chart" uri="{C3380CC4-5D6E-409C-BE32-E72D297353CC}">
                <c16:uniqueId val="{00000005-0B11-408B-B9A7-2C2984287608}"/>
              </c:ext>
            </c:extLst>
          </c:dPt>
          <c:dPt>
            <c:idx val="3"/>
            <c:bubble3D val="0"/>
            <c:spPr>
              <a:solidFill>
                <a:schemeClr val="accent6">
                  <a:alpha val="70000"/>
                </a:schemeClr>
              </a:solidFill>
              <a:ln w="19050">
                <a:solidFill>
                  <a:schemeClr val="lt1"/>
                </a:solidFill>
              </a:ln>
              <a:effectLst/>
            </c:spPr>
            <c:extLst>
              <c:ext xmlns:c16="http://schemas.microsoft.com/office/drawing/2014/chart" uri="{C3380CC4-5D6E-409C-BE32-E72D297353CC}">
                <c16:uniqueId val="{00000007-0B11-408B-B9A7-2C2984287608}"/>
              </c:ext>
            </c:extLst>
          </c:dPt>
          <c:dPt>
            <c:idx val="4"/>
            <c:bubble3D val="0"/>
            <c:spPr>
              <a:solidFill>
                <a:schemeClr val="accent6">
                  <a:lumMod val="60000"/>
                  <a:lumOff val="40000"/>
                  <a:alpha val="70000"/>
                </a:schemeClr>
              </a:solidFill>
              <a:ln w="19050">
                <a:solidFill>
                  <a:schemeClr val="lt1"/>
                </a:solidFill>
              </a:ln>
              <a:effectLst/>
            </c:spPr>
            <c:extLst>
              <c:ext xmlns:c16="http://schemas.microsoft.com/office/drawing/2014/chart" uri="{C3380CC4-5D6E-409C-BE32-E72D297353CC}">
                <c16:uniqueId val="{00000009-0B11-408B-B9A7-2C2984287608}"/>
              </c:ext>
            </c:extLst>
          </c:dPt>
          <c:dPt>
            <c:idx val="5"/>
            <c:bubble3D val="0"/>
            <c:spPr>
              <a:solidFill>
                <a:schemeClr val="accent6">
                  <a:lumMod val="40000"/>
                  <a:lumOff val="60000"/>
                  <a:alpha val="70000"/>
                </a:schemeClr>
              </a:solidFill>
              <a:ln w="19050">
                <a:solidFill>
                  <a:schemeClr val="lt1"/>
                </a:solidFill>
              </a:ln>
              <a:effectLst/>
            </c:spPr>
            <c:extLst>
              <c:ext xmlns:c16="http://schemas.microsoft.com/office/drawing/2014/chart" uri="{C3380CC4-5D6E-409C-BE32-E72D297353CC}">
                <c16:uniqueId val="{0000000B-0B11-408B-B9A7-2C2984287608}"/>
              </c:ext>
            </c:extLst>
          </c:dPt>
          <c:dPt>
            <c:idx val="6"/>
            <c:bubble3D val="0"/>
            <c:spPr>
              <a:solidFill>
                <a:schemeClr val="accent6">
                  <a:lumMod val="20000"/>
                  <a:lumOff val="80000"/>
                  <a:alpha val="70000"/>
                </a:schemeClr>
              </a:solidFill>
              <a:ln w="19050">
                <a:solidFill>
                  <a:schemeClr val="lt1"/>
                </a:solidFill>
              </a:ln>
              <a:effectLst/>
            </c:spPr>
            <c:extLst>
              <c:ext xmlns:c16="http://schemas.microsoft.com/office/drawing/2014/chart" uri="{C3380CC4-5D6E-409C-BE32-E72D297353CC}">
                <c16:uniqueId val="{0000000D-0B11-408B-B9A7-2C2984287608}"/>
              </c:ext>
            </c:extLst>
          </c:dPt>
          <c:dPt>
            <c:idx val="7"/>
            <c:bubble3D val="0"/>
            <c:spPr>
              <a:solidFill>
                <a:schemeClr val="bg1">
                  <a:lumMod val="75000"/>
                  <a:alpha val="70000"/>
                </a:schemeClr>
              </a:solidFill>
              <a:ln w="19050">
                <a:solidFill>
                  <a:schemeClr val="lt1"/>
                </a:solidFill>
              </a:ln>
              <a:effectLst/>
            </c:spPr>
            <c:extLst>
              <c:ext xmlns:c16="http://schemas.microsoft.com/office/drawing/2014/chart" uri="{C3380CC4-5D6E-409C-BE32-E72D297353CC}">
                <c16:uniqueId val="{0000000F-0B11-408B-B9A7-2C2984287608}"/>
              </c:ext>
            </c:extLst>
          </c:dPt>
          <c:dPt>
            <c:idx val="8"/>
            <c:bubble3D val="0"/>
            <c:spPr>
              <a:solidFill>
                <a:schemeClr val="bg1">
                  <a:lumMod val="85000"/>
                  <a:alpha val="70000"/>
                </a:schemeClr>
              </a:solidFill>
              <a:ln w="19050">
                <a:solidFill>
                  <a:schemeClr val="lt1"/>
                </a:solidFill>
              </a:ln>
              <a:effectLst/>
            </c:spPr>
            <c:extLst>
              <c:ext xmlns:c16="http://schemas.microsoft.com/office/drawing/2014/chart" uri="{C3380CC4-5D6E-409C-BE32-E72D297353CC}">
                <c16:uniqueId val="{00000011-0B11-408B-B9A7-2C2984287608}"/>
              </c:ext>
            </c:extLst>
          </c:dPt>
          <c:dLbls>
            <c:dLbl>
              <c:idx val="0"/>
              <c:layout>
                <c:manualLayout>
                  <c:x val="4.6065605186413956E-2"/>
                  <c:y val="-6.8403531592005629E-2"/>
                </c:manualLayout>
              </c:layout>
              <c:spPr>
                <a:solidFill>
                  <a:schemeClr val="bg1">
                    <a:lumMod val="9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1-0B11-408B-B9A7-2C2984287608}"/>
                </c:ext>
              </c:extLst>
            </c:dLbl>
            <c:dLbl>
              <c:idx val="1"/>
              <c:layout>
                <c:manualLayout>
                  <c:x val="8.0614695726189844E-2"/>
                  <c:y val="-6.3517565049719546E-2"/>
                </c:manualLayout>
              </c:layout>
              <c:spPr>
                <a:solidFill>
                  <a:schemeClr val="bg1"/>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3-0B11-408B-B9A7-2C2984287608}"/>
                </c:ext>
              </c:extLst>
            </c:dLbl>
            <c:dLbl>
              <c:idx val="6"/>
              <c:layout>
                <c:manualLayout>
                  <c:x val="1.5113337943908963E-7"/>
                  <c:y val="1.4657899626858305E-2"/>
                </c:manualLayout>
              </c:layout>
              <c:spPr>
                <a:solidFill>
                  <a:schemeClr val="accent6">
                    <a:lumMod val="20000"/>
                    <a:lumOff val="8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D-0B11-408B-B9A7-2C2984287608}"/>
                </c:ext>
              </c:extLst>
            </c:dLbl>
            <c:dLbl>
              <c:idx val="7"/>
              <c:layout>
                <c:manualLayout>
                  <c:x val="-7.6774245421263841E-3"/>
                  <c:y val="-2.93157992537167E-2"/>
                </c:manualLayout>
              </c:layout>
              <c:spPr>
                <a:solidFill>
                  <a:schemeClr val="bg1">
                    <a:lumMod val="7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F-0B11-408B-B9A7-2C2984287608}"/>
                </c:ext>
              </c:extLst>
            </c:dLbl>
            <c:dLbl>
              <c:idx val="8"/>
              <c:layout>
                <c:manualLayout>
                  <c:x val="1.5113337943908963E-7"/>
                  <c:y val="-8.3061431218863988E-2"/>
                </c:manualLayout>
              </c:layout>
              <c:spPr>
                <a:solidFill>
                  <a:schemeClr val="bg1">
                    <a:lumMod val="8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6864809922436244E-2"/>
                    </c:manualLayout>
                  </c15:layout>
                </c:ext>
                <c:ext xmlns:c16="http://schemas.microsoft.com/office/drawing/2014/chart" uri="{C3380CC4-5D6E-409C-BE32-E72D297353CC}">
                  <c16:uniqueId val="{00000011-0B11-408B-B9A7-2C298428760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1</c:f>
              <c:strCache>
                <c:ptCount val="10"/>
                <c:pt idx="0">
                  <c:v>Transportation</c:v>
                </c:pt>
                <c:pt idx="1">
                  <c:v>Industrials</c:v>
                </c:pt>
                <c:pt idx="2">
                  <c:v>Consumer Discretionary</c:v>
                </c:pt>
                <c:pt idx="3">
                  <c:v>Technology</c:v>
                </c:pt>
                <c:pt idx="4">
                  <c:v>Consumer Staples</c:v>
                </c:pt>
                <c:pt idx="5">
                  <c:v>Materials</c:v>
                </c:pt>
                <c:pt idx="6">
                  <c:v>Financial services</c:v>
                </c:pt>
                <c:pt idx="7">
                  <c:v>Healthcare</c:v>
                </c:pt>
                <c:pt idx="8">
                  <c:v>Utilities</c:v>
                </c:pt>
                <c:pt idx="9">
                  <c:v>Cash</c:v>
                </c:pt>
              </c:strCache>
            </c:strRef>
          </c:cat>
          <c:val>
            <c:numRef>
              <c:f>Sheet1!$B$2:$B$11</c:f>
              <c:numCache>
                <c:formatCode>General</c:formatCode>
                <c:ptCount val="10"/>
                <c:pt idx="0">
                  <c:v>0.0434753227300984</c:v>
                </c:pt>
                <c:pt idx="1">
                  <c:v>0.06118098162950726</c:v>
                </c:pt>
                <c:pt idx="2">
                  <c:v>0.09493236830602786</c:v>
                </c:pt>
                <c:pt idx="3">
                  <c:v>0.3010616704276201</c:v>
                </c:pt>
                <c:pt idx="4">
                  <c:v>0.21332978020362467</c:v>
                </c:pt>
                <c:pt idx="5">
                  <c:v>0.07935634116169918</c:v>
                </c:pt>
                <c:pt idx="6">
                  <c:v>0.13001859563783677</c:v>
                </c:pt>
                <c:pt idx="7">
                  <c:v>0.024957194079747124</c:v>
                </c:pt>
                <c:pt idx="8">
                  <c:v>0.04488730725594899</c:v>
                </c:pt>
                <c:pt idx="9">
                  <c:v>0.006800438567889719</c:v>
                </c:pt>
              </c:numCache>
            </c:numRef>
          </c:val>
          <c:extLst>
            <c:ext xmlns:c16="http://schemas.microsoft.com/office/drawing/2014/chart" uri="{C3380CC4-5D6E-409C-BE32-E72D297353CC}">
              <c16:uniqueId val="{00000012-0B11-408B-B9A7-2C298428760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0833333333333334"/>
          <c:w val="0.48333333333333334"/>
          <c:h val="0.72499999999999998"/>
        </c:manualLayout>
      </c:layout>
      <c:doughnutChart>
        <c:varyColors val="1"/>
        <c:ser>
          <c:idx val="0"/>
          <c:order val="0"/>
          <c:tx>
            <c:strRef>
              <c:f>Sheet1!$B$1</c:f>
              <c:strCache>
                <c:ptCount val="1"/>
                <c:pt idx="0">
                  <c:v>Weight</c:v>
                </c:pt>
              </c:strCache>
            </c:strRef>
          </c:tx>
          <c:spPr>
            <a:ln w="19050">
              <a:solidFill>
                <a:schemeClr val="bg1"/>
              </a:solidFill>
              <a:prstDash val="solid"/>
            </a:ln>
          </c:spPr>
          <c:dPt>
            <c:idx val="0"/>
            <c:bubble3D val="0"/>
            <c:spPr>
              <a:solidFill>
                <a:schemeClr val="accent6">
                  <a:lumMod val="50000"/>
                  <a:alpha val="70000"/>
                </a:schemeClr>
              </a:solidFill>
              <a:ln w="19050">
                <a:solidFill>
                  <a:schemeClr val="bg1"/>
                </a:solidFill>
                <a:prstDash val="solid"/>
              </a:ln>
              <a:effectLst/>
            </c:spPr>
            <c:extLst>
              <c:ext xmlns:c16="http://schemas.microsoft.com/office/drawing/2014/chart" uri="{C3380CC4-5D6E-409C-BE32-E72D297353CC}">
                <c16:uniqueId val="{00000001-221E-412B-872B-E2E00E15FA86}"/>
              </c:ext>
            </c:extLst>
          </c:dPt>
          <c:dPt>
            <c:idx val="1"/>
            <c:bubble3D val="0"/>
            <c:spPr>
              <a:solidFill>
                <a:schemeClr val="accent6">
                  <a:alpha val="70000"/>
                </a:schemeClr>
              </a:solidFill>
              <a:ln w="19050">
                <a:solidFill>
                  <a:schemeClr val="bg1"/>
                </a:solidFill>
                <a:prstDash val="solid"/>
              </a:ln>
              <a:effectLst/>
            </c:spPr>
            <c:extLst>
              <c:ext xmlns:c16="http://schemas.microsoft.com/office/drawing/2014/chart" uri="{C3380CC4-5D6E-409C-BE32-E72D297353CC}">
                <c16:uniqueId val="{00000003-221E-412B-872B-E2E00E15FA86}"/>
              </c:ext>
            </c:extLst>
          </c:dPt>
          <c:dPt>
            <c:idx val="2"/>
            <c:bubble3D val="0"/>
            <c:spPr>
              <a:solidFill>
                <a:schemeClr val="accent6">
                  <a:lumMod val="60000"/>
                  <a:lumOff val="40000"/>
                  <a:alpha val="70000"/>
                </a:schemeClr>
              </a:solidFill>
              <a:ln w="19050">
                <a:solidFill>
                  <a:schemeClr val="bg1"/>
                </a:solidFill>
                <a:prstDash val="solid"/>
              </a:ln>
              <a:effectLst/>
            </c:spPr>
            <c:extLst>
              <c:ext xmlns:c16="http://schemas.microsoft.com/office/drawing/2014/chart" uri="{C3380CC4-5D6E-409C-BE32-E72D297353CC}">
                <c16:uniqueId val="{00000005-221E-412B-872B-E2E00E15FA86}"/>
              </c:ext>
            </c:extLst>
          </c:dPt>
          <c:dPt>
            <c:idx val="3"/>
            <c:bubble3D val="0"/>
            <c:spPr>
              <a:solidFill>
                <a:schemeClr val="accent6">
                  <a:lumMod val="40000"/>
                  <a:lumOff val="60000"/>
                  <a:alpha val="70000"/>
                </a:schemeClr>
              </a:solidFill>
              <a:ln w="19050">
                <a:solidFill>
                  <a:schemeClr val="bg1"/>
                </a:solidFill>
                <a:prstDash val="solid"/>
              </a:ln>
              <a:effectLst/>
            </c:spPr>
            <c:extLst>
              <c:ext xmlns:c16="http://schemas.microsoft.com/office/drawing/2014/chart" uri="{C3380CC4-5D6E-409C-BE32-E72D297353CC}">
                <c16:uniqueId val="{00000007-221E-412B-872B-E2E00E15FA86}"/>
              </c:ext>
            </c:extLst>
          </c:dPt>
          <c:dPt>
            <c:idx val="4"/>
            <c:bubble3D val="0"/>
            <c:spPr>
              <a:solidFill>
                <a:schemeClr val="accent6">
                  <a:lumMod val="40000"/>
                  <a:lumOff val="60000"/>
                </a:schemeClr>
              </a:solidFill>
              <a:ln w="19050">
                <a:solidFill>
                  <a:schemeClr val="bg1"/>
                </a:solidFill>
                <a:prstDash val="solid"/>
              </a:ln>
              <a:effectLst/>
            </c:spPr>
            <c:extLst>
              <c:ext xmlns:c16="http://schemas.microsoft.com/office/drawing/2014/chart" uri="{C3380CC4-5D6E-409C-BE32-E72D297353CC}">
                <c16:uniqueId val="{00000009-221E-412B-872B-E2E00E15FA86}"/>
              </c:ext>
            </c:extLst>
          </c:dPt>
          <c:dLbls>
            <c:dLbl>
              <c:idx val="4"/>
              <c:layout>
                <c:manualLayout>
                  <c:x val="1.5113337943908963E-7"/>
                  <c:y val="-3.4201765796002842E-2"/>
                </c:manualLayout>
              </c:layout>
              <c:numFmt formatCode="0%" sourceLinked="0"/>
              <c:spPr>
                <a:solidFill>
                  <a:schemeClr val="accent6">
                    <a:lumMod val="40000"/>
                    <a:lumOff val="6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9-221E-412B-872B-E2E00E15FA8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orth America</c:v>
                </c:pt>
                <c:pt idx="1">
                  <c:v>Europe</c:v>
                </c:pt>
                <c:pt idx="2">
                  <c:v>Asia</c:v>
                </c:pt>
                <c:pt idx="3">
                  <c:v>Africa</c:v>
                </c:pt>
                <c:pt idx="4">
                  <c:v>Cash</c:v>
                </c:pt>
              </c:strCache>
            </c:strRef>
          </c:cat>
          <c:val>
            <c:numRef>
              <c:f>Sheet1!$B$2:$B$6</c:f>
              <c:numCache>
                <c:formatCode>General</c:formatCode>
                <c:ptCount val="5"/>
                <c:pt idx="0">
                  <c:v>0.6843331062140103</c:v>
                </c:pt>
                <c:pt idx="1">
                  <c:v>0.17545489939295086</c:v>
                </c:pt>
                <c:pt idx="2">
                  <c:v>0.08598923446429323</c:v>
                </c:pt>
                <c:pt idx="3">
                  <c:v>0.047422321360855835</c:v>
                </c:pt>
                <c:pt idx="4">
                  <c:v>0.006800438567889719</c:v>
                </c:pt>
              </c:numCache>
            </c:numRef>
          </c:val>
          <c:extLst>
            <c:ext xmlns:c16="http://schemas.microsoft.com/office/drawing/2014/chart" uri="{C3380CC4-5D6E-409C-BE32-E72D297353CC}">
              <c16:uniqueId val="{0000000A-221E-412B-872B-E2E00E15FA86}"/>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177D4A4-2BD7-A4F5-363F-90280D954C7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kern="12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83B0B4-4DB8-4356-89CF-1B6DF44DDB31}" type="datetimeFigureOut">
              <a:rPr lang="en-ZA" smtClean="0"/>
              <a:t>2025/10/29</a:t>
            </a:fld>
            <a:endParaRPr lang="en-ZA"/>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0DABF5-BA7F-4826-9472-9B655D25709B}" type="slidenum">
              <a:rPr lang="en-ZA" smtClean="0"/>
              <a:t>‹#›</a:t>
            </a:fld>
            <a:endParaRPr lang="en-ZA"/>
          </a:p>
        </p:txBody>
      </p:sp>
    </p:spTree>
    <p:extLst>
      <p:ext uri="{BB962C8B-B14F-4D97-AF65-F5344CB8AC3E}">
        <p14:creationId xmlns:p14="http://schemas.microsoft.com/office/powerpoint/2010/main" val="140558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650DABF5-BA7F-4826-9472-9B655D25709B}" type="slidenum">
              <a:rPr lang="en-ZA" smtClean="0"/>
              <a:t>1</a:t>
            </a:fld>
            <a:endParaRPr lang="en-ZA"/>
          </a:p>
        </p:txBody>
      </p:sp>
    </p:spTree>
    <p:extLst>
      <p:ext uri="{BB962C8B-B14F-4D97-AF65-F5344CB8AC3E}">
        <p14:creationId xmlns:p14="http://schemas.microsoft.com/office/powerpoint/2010/main" val="3095676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A5AF-FF03-F7F2-3CE6-1602601F8A1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47D27EC-E08E-F506-4546-8B2A87D6557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25348CF-22CF-96A1-7361-92C86CE0430A}"/>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938BFA3D-73A0-D53D-982C-61E3ED42827C}"/>
              </a:ext>
            </a:extLst>
          </p:cNvPr>
          <p:cNvSpPr>
            <a:spLocks noGrp="1"/>
          </p:cNvSpPr>
          <p:nvPr>
            <p:ph type="sldNum" sz="quarter" idx="5"/>
          </p:nvPr>
        </p:nvSpPr>
        <p:spPr/>
        <p:txBody>
          <a:bodyPr/>
          <a:lstStyle/>
          <a:p>
            <a:fld id="{650DABF5-BA7F-4826-9472-9B655D25709B}" type="slidenum">
              <a:rPr lang="en-ZA" smtClean="0"/>
              <a:t>2</a:t>
            </a:fld>
            <a:endParaRPr lang="en-ZA"/>
          </a:p>
        </p:txBody>
      </p:sp>
    </p:spTree>
    <p:extLst>
      <p:ext uri="{BB962C8B-B14F-4D97-AF65-F5344CB8AC3E}">
        <p14:creationId xmlns:p14="http://schemas.microsoft.com/office/powerpoint/2010/main" val="3419577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185574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219464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368578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581671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9021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420764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9147E2-1A9D-4971-9230-11EE99FA0237}" type="datetimeFigureOut">
              <a:rPr lang="en-ZA" smtClean="0"/>
              <a:t>2025/10/29</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63695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9147E2-1A9D-4971-9230-11EE99FA0237}" type="datetimeFigureOut">
              <a:rPr lang="en-ZA" smtClean="0"/>
              <a:t>2025/10/29</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75198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92C441E-A24D-36FE-C833-C05192970D1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Date Placeholder 1"/>
          <p:cNvSpPr>
            <a:spLocks noGrp="1"/>
          </p:cNvSpPr>
          <p:nvPr>
            <p:ph type="dt" sz="half" idx="10"/>
          </p:nvPr>
        </p:nvSpPr>
        <p:spPr/>
        <p:txBody>
          <a:bodyPr/>
          <a:lstStyle/>
          <a:p>
            <a:fld id="{899147E2-1A9D-4971-9230-11EE99FA0237}" type="datetimeFigureOut">
              <a:rPr lang="en-ZA" smtClean="0"/>
              <a:t>2025/10/29</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709778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47780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383178517"/>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899147E2-1A9D-4971-9230-11EE99FA0237}" type="datetimeFigureOut">
              <a:rPr lang="en-ZA" smtClean="0"/>
              <a:t>2025/10/29</a:t>
            </a:fld>
            <a:endParaRPr lang="en-ZA"/>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01079F54-34F3-4503-B9A3-E06A6762BE0B}" type="slidenum">
              <a:rPr lang="en-ZA" smtClean="0"/>
              <a:t>‹#›</a:t>
            </a:fld>
            <a:endParaRPr lang="en-ZA"/>
          </a:p>
        </p:txBody>
      </p:sp>
    </p:spTree>
    <p:extLst>
      <p:ext uri="{BB962C8B-B14F-4D97-AF65-F5344CB8AC3E}">
        <p14:creationId xmlns:p14="http://schemas.microsoft.com/office/powerpoint/2010/main" val="28170454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9.png"/><Relationship Id="rId15" Type="http://schemas.microsoft.com/office/2007/relationships/hdphoto" Target="../media/hdphoto1.wdp"/><Relationship Id="rId16" Type="http://schemas.openxmlformats.org/officeDocument/2006/relationships/image" Target="../media/image10.png"/><Relationship Id="rId17" Type="http://schemas.microsoft.com/office/2007/relationships/hdphoto" Target="../media/hdphoto2.wdp"/><Relationship Id="rId18" Type="http://schemas.openxmlformats.org/officeDocument/2006/relationships/image" Target="../media/image11.png"/><Relationship Id="rId19" Type="http://schemas.openxmlformats.org/officeDocument/2006/relationships/image" Target="../media/image12.png"/><Relationship Id="rId20" Type="http://schemas.microsoft.com/office/2007/relationships/hdphoto" Target="../media/hdphoto3.wdp"/><Relationship Id="rId21" Type="http://schemas.openxmlformats.org/officeDocument/2006/relationships/image" Target="../media/image13.png"/><Relationship Id="rId22" Type="http://schemas.microsoft.com/office/2007/relationships/hdphoto" Target="../media/hdphoto4.wdp"/><Relationship Id="rId23" Type="http://schemas.openxmlformats.org/officeDocument/2006/relationships/chart" Target="../charts/char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hyperlink" Target="mailto::%20assetmanagement@kukulacapital.com" TargetMode="External"/><Relationship Id="rId6" Type="http://schemas.openxmlformats.org/officeDocument/2006/relationships/hyperlink" Target="http://www.kukulacapital.com/" TargetMode="External"/><Relationship Id="rId7" Type="http://schemas.openxmlformats.org/officeDocument/2006/relationships/hyperlink" Target="tel:+260%20954%20715%20547" TargetMode="External"/><Relationship Id="rId8" Type="http://schemas.openxmlformats.org/officeDocument/2006/relationships/image" Target="../media/image3.png"/><Relationship Id="rId9" Type="http://schemas.openxmlformats.org/officeDocument/2006/relationships/image" Target="../media/image4.svg"/><Relationship Id="rId10" Type="http://schemas.openxmlformats.org/officeDocument/2006/relationships/image" Target="../media/image5.png"/><Relationship Id="rId11" Type="http://schemas.openxmlformats.org/officeDocument/2006/relationships/image" Target="../media/image6.svg"/><Relationship Id="rId12" Type="http://schemas.openxmlformats.org/officeDocument/2006/relationships/image" Target="../media/image7.png"/><Relationship Id="rId13" Type="http://schemas.openxmlformats.org/officeDocument/2006/relationships/image" Target="../media/image8.svg"/><Relationship Id="rId14" Type="http://schemas.openxmlformats.org/officeDocument/2006/relationships/image" Target="../media/image14.png"/><Relationship Id="rId15" Type="http://schemas.openxmlformats.org/officeDocument/2006/relationships/image" Target="../media/image15.svg"/><Relationship Id="rId16" Type="http://schemas.openxmlformats.org/officeDocument/2006/relationships/image" Target="../media/image16.png"/><Relationship Id="rId17" Type="http://schemas.openxmlformats.org/officeDocument/2006/relationships/image" Target="../media/image17.svg"/><Relationship Id="rId18" Type="http://schemas.openxmlformats.org/officeDocument/2006/relationships/image" Target="../media/image18.png"/><Relationship Id="rId19" Type="http://schemas.openxmlformats.org/officeDocument/2006/relationships/image" Target="../media/image19.svg"/><Relationship Id="rId20" Type="http://schemas.openxmlformats.org/officeDocument/2006/relationships/image" Target="../media/image20.png"/><Relationship Id="rId21" Type="http://schemas.openxmlformats.org/officeDocument/2006/relationships/image" Target="../media/image21.svg"/><Relationship Id="rId22" Type="http://schemas.openxmlformats.org/officeDocument/2006/relationships/image" Target="../media/image22.png"/><Relationship Id="rId23" Type="http://schemas.openxmlformats.org/officeDocument/2006/relationships/image" Target="../media/image23.svg"/><Relationship Id="rId24" Type="http://schemas.openxmlformats.org/officeDocument/2006/relationships/image" Target="../media/image24.png"/><Relationship Id="rId25" Type="http://schemas.openxmlformats.org/officeDocument/2006/relationships/image" Target="../media/image25.svg"/><Relationship Id="rId26" Type="http://schemas.openxmlformats.org/officeDocument/2006/relationships/image" Target="../media/image26.png"/><Relationship Id="rId27" Type="http://schemas.openxmlformats.org/officeDocument/2006/relationships/image" Target="../media/image27.svg"/><Relationship Id="rId28" Type="http://schemas.openxmlformats.org/officeDocument/2006/relationships/image" Target="../media/image28.png"/><Relationship Id="rId29" Type="http://schemas.openxmlformats.org/officeDocument/2006/relationships/image" Target="../media/image29.svg"/><Relationship Id="rId30" Type="http://schemas.openxmlformats.org/officeDocument/2006/relationships/image" Target="../media/image30.png"/><Relationship Id="rId31" Type="http://schemas.openxmlformats.org/officeDocument/2006/relationships/image" Target="../media/image31.svg"/><Relationship Id="rId32" Type="http://schemas.openxmlformats.org/officeDocument/2006/relationships/image" Target="../media/image32.png"/><Relationship Id="rId33" Type="http://schemas.openxmlformats.org/officeDocument/2006/relationships/image" Target="../media/image33.svg"/><Relationship Id="rId34" Type="http://schemas.openxmlformats.org/officeDocument/2006/relationships/image" Target="../media/image34.png"/><Relationship Id="rId35" Type="http://schemas.openxmlformats.org/officeDocument/2006/relationships/image" Target="../media/image35.svg"/><Relationship Id="rId36" Type="http://schemas.openxmlformats.org/officeDocument/2006/relationships/image" Target="../media/image36.png"/><Relationship Id="rId37" Type="http://schemas.openxmlformats.org/officeDocument/2006/relationships/image" Target="../media/image37.svg"/><Relationship Id="rId38" Type="http://schemas.openxmlformats.org/officeDocument/2006/relationships/image" Target="../media/image38.png"/><Relationship Id="rId39" Type="http://schemas.openxmlformats.org/officeDocument/2006/relationships/image" Target="../media/image39.svg"/><Relationship Id="rId40" Type="http://schemas.openxmlformats.org/officeDocument/2006/relationships/image" Target="../media/image40.png"/><Relationship Id="rId41" Type="http://schemas.openxmlformats.org/officeDocument/2006/relationships/image" Target="../media/image41.svg"/><Relationship Id="rId42" Type="http://schemas.openxmlformats.org/officeDocument/2006/relationships/image" Target="../media/image42.png"/><Relationship Id="rId43" Type="http://schemas.microsoft.com/office/2007/relationships/hdphoto" Target="../media/hdphoto5.wdp"/><Relationship Id="rId44" Type="http://schemas.openxmlformats.org/officeDocument/2006/relationships/image" Target="../media/image43.png"/><Relationship Id="rId45" Type="http://schemas.microsoft.com/office/2007/relationships/hdphoto" Target="../media/hdphoto6.wdp"/><Relationship Id="rId46" Type="http://schemas.openxmlformats.org/officeDocument/2006/relationships/image" Target="../media/image44.png"/><Relationship Id="rId47" Type="http://schemas.microsoft.com/office/2007/relationships/hdphoto" Target="../media/hdphoto7.wdp"/><Relationship Id="rId48" Type="http://schemas.openxmlformats.org/officeDocument/2006/relationships/chart" Target="../charts/chart2.xml"/><Relationship Id="rId49"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7817319-FBEE-F9F8-A63A-DAF0A4BCAD55}"/>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05FBD931-77C6-E74C-6837-20795E9F3819}"/>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F7FF33B2-B67E-2C47-A922-E3B18CE0ACAA}"/>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AA4FED92-FC9E-4AFE-A0C3-5F67F10831EF}"/>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sp>
        <p:nvSpPr>
          <p:cNvPr id="61" name="PORTFOLIO_NAME">
            <a:extLst>
              <a:ext uri="{FF2B5EF4-FFF2-40B4-BE49-F238E27FC236}">
                <a16:creationId xmlns:a16="http://schemas.microsoft.com/office/drawing/2014/main" id="{B2735D28-9572-422E-9448-96127A3D51A0}"/>
              </a:ext>
            </a:extLst>
          </p:cNvPr>
          <p:cNvSpPr txBox="1"/>
          <p:nvPr/>
        </p:nvSpPr>
        <p:spPr>
          <a:xfrm>
            <a:off x="292608" y="348002"/>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
            <a:extLst>
              <a:ext uri="{FF2B5EF4-FFF2-40B4-BE49-F238E27FC236}">
                <a16:creationId xmlns:a16="http://schemas.microsoft.com/office/drawing/2014/main" id="{54AD899D-67A1-4034-848B-0D2C28E83CE6}"/>
              </a:ext>
            </a:extLst>
          </p:cNvPr>
          <p:cNvSpPr txBox="1"/>
          <p:nvPr/>
        </p:nvSpPr>
        <p:spPr>
          <a:xfrm>
            <a:off x="292608" y="588777"/>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nvGrpSpPr>
          <p:cNvPr id="1028" name="Group 1027">
            <a:extLst>
              <a:ext uri="{FF2B5EF4-FFF2-40B4-BE49-F238E27FC236}">
                <a16:creationId xmlns:a16="http://schemas.microsoft.com/office/drawing/2014/main" id="{CAABA66D-E5A9-A768-B6E3-25B349636CF6}"/>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960CACED-06CB-3EFD-A814-35C4F800DF45}"/>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90042EF2-03E5-FB3F-427B-CD408CFBC546}"/>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85142DE5-3361-D9D8-B2E7-6EE43510FC64}"/>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09BDD64A-648A-D3B1-1CD1-D88F68203600}"/>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A5111EF6-7BB1-A829-52E0-DABA4A249720}"/>
              </a:ext>
            </a:extLst>
          </p:cNvPr>
          <p:cNvSpPr/>
          <p:nvPr/>
        </p:nvSpPr>
        <p:spPr>
          <a:xfrm>
            <a:off x="292608"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93ECBF78-E095-0FD7-1064-267F2E9C4CC2}"/>
              </a:ext>
            </a:extLst>
          </p:cNvPr>
          <p:cNvSpPr/>
          <p:nvPr/>
        </p:nvSpPr>
        <p:spPr>
          <a:xfrm>
            <a:off x="292608" y="6853355"/>
            <a:ext cx="6272784" cy="277222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56CCE26D-359B-7FB8-88E1-4FA9AE8978ED}"/>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1</a:t>
            </a:r>
            <a:endParaRPr lang="en-GB" sz="1200" dirty="0">
              <a:solidFill>
                <a:schemeClr val="bg1"/>
              </a:solidFill>
            </a:endParaRPr>
          </a:p>
        </p:txBody>
      </p:sp>
      <p:sp>
        <p:nvSpPr>
          <p:cNvPr id="1048" name="Rectangle 1047">
            <a:extLst>
              <a:ext uri="{FF2B5EF4-FFF2-40B4-BE49-F238E27FC236}">
                <a16:creationId xmlns:a16="http://schemas.microsoft.com/office/drawing/2014/main" id="{7962D9A7-5942-AC53-AE92-AF721B36A947}"/>
              </a:ext>
            </a:extLst>
          </p:cNvPr>
          <p:cNvSpPr/>
          <p:nvPr/>
        </p:nvSpPr>
        <p:spPr>
          <a:xfrm>
            <a:off x="3483000"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06B72A2C-5F73-D79D-13B4-8D727F7F5D7D}"/>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0A71B9AF-2A7E-58DB-5199-3098FB55D63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AA11C72D-7F22-8F5E-781C-48AC4F0C3D51}"/>
                </a:ext>
              </a:extLst>
            </p:cNvPr>
            <p:cNvSpPr/>
            <p:nvPr/>
          </p:nvSpPr>
          <p:spPr>
            <a:xfrm>
              <a:off x="30022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I</a:t>
              </a:r>
              <a:r>
                <a:rPr lang="en-GB" sz="1000" b="1" dirty="0" err="1">
                  <a:solidFill>
                    <a:schemeClr val="bg1"/>
                  </a:solidFill>
                  <a:latin typeface="Bierstadt"/>
                </a:rPr>
                <a:t>nvestment</a:t>
              </a:r>
              <a:r>
                <a:rPr lang="en-GB" sz="1000" b="1" dirty="0">
                  <a:solidFill>
                    <a:schemeClr val="bg1"/>
                  </a:solidFill>
                  <a:latin typeface="Bierstadt"/>
                </a:rPr>
                <a:t> objective &amp; philosophy</a:t>
              </a:r>
            </a:p>
          </p:txBody>
        </p:sp>
      </p:grpSp>
      <p:sp>
        <p:nvSpPr>
          <p:cNvPr id="1051" name="TextBox 1050">
            <a:extLst>
              <a:ext uri="{FF2B5EF4-FFF2-40B4-BE49-F238E27FC236}">
                <a16:creationId xmlns:a16="http://schemas.microsoft.com/office/drawing/2014/main" id="{D48B7A90-0C92-ED60-2FC0-B121F36CC0F4}"/>
              </a:ext>
            </a:extLst>
          </p:cNvPr>
          <p:cNvSpPr txBox="1"/>
          <p:nvPr/>
        </p:nvSpPr>
        <p:spPr>
          <a:xfrm>
            <a:off x="292607" y="1246239"/>
            <a:ext cx="3082392" cy="230832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Kukula Global Growth Portfolio is a moderate- to high-risk, growth-oriented equity portfolio designed to deliver long-term returns through capital appreciation and dividends. The portfolio seeks exposure to global leaders in sectors driving structural change, including technology, financials, and critical resources, while maintaining diversification across regions and industries.</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900" dirty="0">
              <a:solidFill>
                <a:schemeClr val="bg1"/>
              </a:solidFill>
              <a:latin typeface="Bierstadt" panose="020B0004020202020204" pitchFamily="34" charset="0"/>
              <a:cs typeface="Helvetica"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We invest in responsible, high-quality companies with strong fundamentals, sustainable growth prospects, and sound governance. Our investment process is active and research-driven. Kukula’s portfolio management is characterized by agility, allowing us to swiftly adjust positioning and restructure holdings when market conditions change, protecting value while capturing opportunities in emerging global trends.</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4" name="Group 3">
            <a:extLst>
              <a:ext uri="{FF2B5EF4-FFF2-40B4-BE49-F238E27FC236}">
                <a16:creationId xmlns:a16="http://schemas.microsoft.com/office/drawing/2014/main" id="{2363E094-084C-5C1E-34A6-CE0088951EEF}"/>
              </a:ext>
            </a:extLst>
          </p:cNvPr>
          <p:cNvGrpSpPr/>
          <p:nvPr/>
        </p:nvGrpSpPr>
        <p:grpSpPr>
          <a:xfrm>
            <a:off x="845287" y="4363577"/>
            <a:ext cx="1694214" cy="775351"/>
            <a:chOff x="845287" y="3807317"/>
            <a:chExt cx="1694214" cy="775351"/>
          </a:xfrm>
        </p:grpSpPr>
        <p:cxnSp>
          <p:nvCxnSpPr>
            <p:cNvPr id="1070" name="Straight Connector 1069">
              <a:extLst>
                <a:ext uri="{FF2B5EF4-FFF2-40B4-BE49-F238E27FC236}">
                  <a16:creationId xmlns:a16="http://schemas.microsoft.com/office/drawing/2014/main" id="{2602B7CB-5E08-C13E-40FB-3E3190CAABE5}"/>
                </a:ext>
              </a:extLst>
            </p:cNvPr>
            <p:cNvCxnSpPr/>
            <p:nvPr/>
          </p:nvCxnSpPr>
          <p:spPr>
            <a:xfrm>
              <a:off x="845287" y="3901103"/>
              <a:ext cx="176042" cy="0"/>
            </a:xfrm>
            <a:prstGeom prst="line">
              <a:avLst/>
            </a:prstGeom>
            <a:ln w="38100">
              <a:solidFill>
                <a:srgbClr val="92D050"/>
              </a:solidFill>
              <a:prstDash val="solid"/>
            </a:ln>
          </p:spPr>
          <p:style>
            <a:lnRef idx="1">
              <a:schemeClr val="accent1"/>
            </a:lnRef>
            <a:fillRef idx="0">
              <a:schemeClr val="accent1"/>
            </a:fillRef>
            <a:effectRef idx="0">
              <a:schemeClr val="accent1"/>
            </a:effectRef>
            <a:fontRef idx="minor">
              <a:schemeClr val="tx1"/>
            </a:fontRef>
          </p:style>
        </p:cxnSp>
        <p:sp>
          <p:nvSpPr>
            <p:cNvPr id="1075" name="Rectangle 1074">
              <a:extLst>
                <a:ext uri="{FF2B5EF4-FFF2-40B4-BE49-F238E27FC236}">
                  <a16:creationId xmlns:a16="http://schemas.microsoft.com/office/drawing/2014/main" id="{6025C487-0FBB-0D38-1A73-63B7E914BB20}"/>
                </a:ext>
              </a:extLst>
            </p:cNvPr>
            <p:cNvSpPr/>
            <p:nvPr/>
          </p:nvSpPr>
          <p:spPr>
            <a:xfrm>
              <a:off x="1021329" y="380731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USD)</a:t>
              </a:r>
              <a:endParaRPr lang="en-GB" sz="1400" dirty="0">
                <a:solidFill>
                  <a:schemeClr val="bg1"/>
                </a:solidFill>
                <a:latin typeface="Bierstadt" panose="020B0004020202020204" pitchFamily="34" charset="0"/>
              </a:endParaRPr>
            </a:p>
          </p:txBody>
        </p:sp>
        <p:cxnSp>
          <p:nvCxnSpPr>
            <p:cNvPr id="1068" name="Straight Connector 1067">
              <a:extLst>
                <a:ext uri="{FF2B5EF4-FFF2-40B4-BE49-F238E27FC236}">
                  <a16:creationId xmlns:a16="http://schemas.microsoft.com/office/drawing/2014/main" id="{0EECB6F3-3516-0EF1-ED24-EDF6996DBBAD}"/>
                </a:ext>
              </a:extLst>
            </p:cNvPr>
            <p:cNvCxnSpPr/>
            <p:nvPr/>
          </p:nvCxnSpPr>
          <p:spPr>
            <a:xfrm>
              <a:off x="845287" y="4097029"/>
              <a:ext cx="176042" cy="0"/>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37B38338-8830-D42A-78E5-19D2D9D00DE1}"/>
                </a:ext>
              </a:extLst>
            </p:cNvPr>
            <p:cNvSpPr/>
            <p:nvPr/>
          </p:nvSpPr>
          <p:spPr>
            <a:xfrm>
              <a:off x="1021329" y="4003243"/>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USD)</a:t>
              </a:r>
              <a:endParaRPr lang="en-GB" sz="1400" dirty="0">
                <a:solidFill>
                  <a:schemeClr val="bg1"/>
                </a:solidFill>
                <a:latin typeface="Bierstadt" panose="020B0004020202020204" pitchFamily="34" charset="0"/>
              </a:endParaRPr>
            </a:p>
          </p:txBody>
        </p:sp>
        <p:cxnSp>
          <p:nvCxnSpPr>
            <p:cNvPr id="1074" name="Straight Connector 1073">
              <a:extLst>
                <a:ext uri="{FF2B5EF4-FFF2-40B4-BE49-F238E27FC236}">
                  <a16:creationId xmlns:a16="http://schemas.microsoft.com/office/drawing/2014/main" id="{01FF496C-1B63-9F7A-E785-BD8601DA11B9}"/>
                </a:ext>
              </a:extLst>
            </p:cNvPr>
            <p:cNvCxnSpPr/>
            <p:nvPr/>
          </p:nvCxnSpPr>
          <p:spPr>
            <a:xfrm>
              <a:off x="845287" y="4292957"/>
              <a:ext cx="176042" cy="0"/>
            </a:xfrm>
            <a:prstGeom prst="line">
              <a:avLst/>
            </a:prstGeom>
            <a:ln w="381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71" name="Rectangle 1070">
              <a:extLst>
                <a:ext uri="{FF2B5EF4-FFF2-40B4-BE49-F238E27FC236}">
                  <a16:creationId xmlns:a16="http://schemas.microsoft.com/office/drawing/2014/main" id="{5EF8955E-1811-625A-2E9D-62F78E7966F0}"/>
                </a:ext>
              </a:extLst>
            </p:cNvPr>
            <p:cNvSpPr/>
            <p:nvPr/>
          </p:nvSpPr>
          <p:spPr>
            <a:xfrm>
              <a:off x="1021329" y="4199170"/>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ZMW)</a:t>
              </a:r>
              <a:endParaRPr lang="en-GB" sz="1400" dirty="0">
                <a:solidFill>
                  <a:schemeClr val="bg1"/>
                </a:solidFill>
                <a:latin typeface="Bierstadt" panose="020B0004020202020204" pitchFamily="34" charset="0"/>
              </a:endParaRPr>
            </a:p>
          </p:txBody>
        </p:sp>
        <p:cxnSp>
          <p:nvCxnSpPr>
            <p:cNvPr id="1072" name="Straight Connector 1071">
              <a:extLst>
                <a:ext uri="{FF2B5EF4-FFF2-40B4-BE49-F238E27FC236}">
                  <a16:creationId xmlns:a16="http://schemas.microsoft.com/office/drawing/2014/main" id="{067EAF58-9C59-E403-E8BE-82708F20FD33}"/>
                </a:ext>
              </a:extLst>
            </p:cNvPr>
            <p:cNvCxnSpPr/>
            <p:nvPr/>
          </p:nvCxnSpPr>
          <p:spPr>
            <a:xfrm>
              <a:off x="845287" y="4488883"/>
              <a:ext cx="176042"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069" name="Rectangle 1068">
              <a:extLst>
                <a:ext uri="{FF2B5EF4-FFF2-40B4-BE49-F238E27FC236}">
                  <a16:creationId xmlns:a16="http://schemas.microsoft.com/office/drawing/2014/main" id="{E01969D9-225F-E45F-5920-F199404DF842}"/>
                </a:ext>
              </a:extLst>
            </p:cNvPr>
            <p:cNvSpPr/>
            <p:nvPr/>
          </p:nvSpPr>
          <p:spPr>
            <a:xfrm>
              <a:off x="1021329" y="439509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ZMW)</a:t>
              </a:r>
              <a:endParaRPr lang="en-GB" sz="1400" dirty="0">
                <a:solidFill>
                  <a:schemeClr val="bg1"/>
                </a:solidFill>
                <a:latin typeface="Bierstadt" panose="020B0004020202020204" pitchFamily="34" charset="0"/>
              </a:endParaRPr>
            </a:p>
          </p:txBody>
        </p:sp>
      </p:grpSp>
      <p:grpSp>
        <p:nvGrpSpPr>
          <p:cNvPr id="1113" name="Group 1112">
            <a:extLst>
              <a:ext uri="{FF2B5EF4-FFF2-40B4-BE49-F238E27FC236}">
                <a16:creationId xmlns:a16="http://schemas.microsoft.com/office/drawing/2014/main" id="{C798E148-BFA6-6EF2-9543-ADF6CE2B8F40}"/>
              </a:ext>
            </a:extLst>
          </p:cNvPr>
          <p:cNvGrpSpPr/>
          <p:nvPr/>
        </p:nvGrpSpPr>
        <p:grpSpPr>
          <a:xfrm>
            <a:off x="292608" y="3487233"/>
            <a:ext cx="3082392" cy="232459"/>
            <a:chOff x="292608" y="3408468"/>
            <a:chExt cx="3082392" cy="232459"/>
          </a:xfrm>
        </p:grpSpPr>
        <p:cxnSp>
          <p:nvCxnSpPr>
            <p:cNvPr id="1110" name="Straight Connector 1109">
              <a:extLst>
                <a:ext uri="{FF2B5EF4-FFF2-40B4-BE49-F238E27FC236}">
                  <a16:creationId xmlns:a16="http://schemas.microsoft.com/office/drawing/2014/main" id="{E1E9F400-79E4-F605-CAC3-9C8DFB8A4E78}"/>
                </a:ext>
              </a:extLst>
            </p:cNvPr>
            <p:cNvCxnSpPr/>
            <p:nvPr/>
          </p:nvCxnSpPr>
          <p:spPr>
            <a:xfrm>
              <a:off x="292608" y="3640927"/>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1" name="Rectangle 1110">
              <a:extLst>
                <a:ext uri="{FF2B5EF4-FFF2-40B4-BE49-F238E27FC236}">
                  <a16:creationId xmlns:a16="http://schemas.microsoft.com/office/drawing/2014/main" id="{B72AFCF7-2C29-E7CB-8DB3-EF8C64B30C9D}"/>
                </a:ext>
              </a:extLst>
            </p:cNvPr>
            <p:cNvSpPr/>
            <p:nvPr/>
          </p:nvSpPr>
          <p:spPr>
            <a:xfrm>
              <a:off x="292608" y="3408468"/>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Portfolio performance since inception</a:t>
              </a:r>
              <a:endParaRPr lang="en-GB" sz="1000" b="1" dirty="0">
                <a:solidFill>
                  <a:schemeClr val="bg1"/>
                </a:solidFill>
                <a:latin typeface="Bierstadt" panose="020B0004020202020204" pitchFamily="34" charset="0"/>
              </a:endParaRPr>
            </a:p>
          </p:txBody>
        </p:sp>
      </p:grpSp>
      <p:sp>
        <p:nvSpPr>
          <p:cNvPr id="1116" name="Rectangle 1115">
            <a:extLst>
              <a:ext uri="{FF2B5EF4-FFF2-40B4-BE49-F238E27FC236}">
                <a16:creationId xmlns:a16="http://schemas.microsoft.com/office/drawing/2014/main" id="{B75CABC0-673B-2A1C-4D66-DBFEB420B5E4}"/>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Monthly return in USD %</a:t>
            </a:r>
            <a:endParaRPr lang="en-GB" sz="1000" b="1" dirty="0">
              <a:solidFill>
                <a:schemeClr val="bg1"/>
              </a:solidFill>
              <a:latin typeface="Bierstadt" panose="020B0004020202020204" pitchFamily="34" charset="0"/>
            </a:endParaRPr>
          </a:p>
        </p:txBody>
      </p:sp>
      <p:sp>
        <p:nvSpPr>
          <p:cNvPr id="1043" name="TextBox 1042">
            <a:extLst>
              <a:ext uri="{FF2B5EF4-FFF2-40B4-BE49-F238E27FC236}">
                <a16:creationId xmlns:a16="http://schemas.microsoft.com/office/drawing/2014/main" id="{74D90AD3-A784-38C5-B3F4-6A5A0D8E85D1}"/>
              </a:ext>
            </a:extLst>
          </p:cNvPr>
          <p:cNvSpPr txBox="1"/>
          <p:nvPr/>
        </p:nvSpPr>
        <p:spPr>
          <a:xfrm>
            <a:off x="292608" y="9210085"/>
            <a:ext cx="6272784" cy="415498"/>
          </a:xfrm>
          <a:prstGeom prst="rect">
            <a:avLst/>
          </a:prstGeom>
          <a:noFill/>
        </p:spPr>
        <p:txBody>
          <a:bodyPr wrap="square" rtlCol="0">
            <a:spAutoFit/>
          </a:bodyPr>
          <a:lstStyle/>
          <a:p>
            <a:pPr marL="171450" indent="-171450">
              <a:buFont typeface="Arial" panose="020B0604020202020204" pitchFamily="34" charset="0"/>
              <a:buChar char="•"/>
            </a:pPr>
            <a:r>
              <a:rPr lang="en-ZA" sz="700" dirty="0">
                <a:solidFill>
                  <a:schemeClr val="bg1"/>
                </a:solidFill>
              </a:rPr>
              <a:t>Portfolio and benchmark returns are not for the complete month of September 2021. Starts at 6 September 2021 (inception). Benchmark YTD is since inception.</a:t>
            </a: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 </a:t>
            </a:r>
          </a:p>
          <a:p>
            <a:pPr marL="171450" indent="-171450">
              <a:buFont typeface="Arial" panose="020B0604020202020204" pitchFamily="34" charset="0"/>
              <a:buChar char="•"/>
            </a:pP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All returns stated have been calculated based on net asset values, including reinvestment of dividends where applicable. Past performance is not a reliable indicator of future performance.</a:t>
            </a:r>
            <a:endParaRPr kumimoji="0" lang="en-ZA" sz="7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aphicFrame>
        <p:nvGraphicFramePr>
          <p:cNvPr id="1044" name="MONTHLY_RETURNS_TABLE">
            <a:extLst>
              <a:ext uri="{FF2B5EF4-FFF2-40B4-BE49-F238E27FC236}">
                <a16:creationId xmlns:a16="http://schemas.microsoft.com/office/drawing/2014/main" id="{1F6E4154-5923-4BB1-E4D7-B973F8027170}"/>
              </a:ext>
            </a:extLst>
          </p:cNvPr>
          <p:cNvGraphicFramePr>
            <a:graphicFrameLocks noGrp="1"/>
          </p:cNvGraphicFramePr>
          <p:nvPr>
            <p:extLst>
              <p:ext uri="{D42A27DB-BD31-4B8C-83A1-F6EECF244321}">
                <p14:modId xmlns:p14="http://schemas.microsoft.com/office/powerpoint/2010/main" val="3208698559"/>
              </p:ext>
            </p:extLst>
          </p:nvPr>
        </p:nvGraphicFramePr>
        <p:xfrm>
          <a:off x="435172" y="7159133"/>
          <a:ext cx="5987656" cy="2008511"/>
        </p:xfrm>
        <a:graphic>
          <a:graphicData uri="http://schemas.openxmlformats.org/drawingml/2006/table">
            <a:tbl>
              <a:tblPr firstRow="1" bandRow="1">
                <a:tableStyleId>{00A15C55-8517-42AA-B614-E9B94910E393}</a:tableStyleId>
              </a:tblPr>
              <a:tblGrid>
                <a:gridCol w="948120">
                  <a:extLst>
                    <a:ext uri="{9D8B030D-6E8A-4147-A177-3AD203B41FA5}">
                      <a16:colId xmlns:a16="http://schemas.microsoft.com/office/drawing/2014/main" val="896788362"/>
                    </a:ext>
                  </a:extLst>
                </a:gridCol>
                <a:gridCol w="420970">
                  <a:extLst>
                    <a:ext uri="{9D8B030D-6E8A-4147-A177-3AD203B41FA5}">
                      <a16:colId xmlns:a16="http://schemas.microsoft.com/office/drawing/2014/main" val="3261703524"/>
                    </a:ext>
                  </a:extLst>
                </a:gridCol>
                <a:gridCol w="382056">
                  <a:extLst>
                    <a:ext uri="{9D8B030D-6E8A-4147-A177-3AD203B41FA5}">
                      <a16:colId xmlns:a16="http://schemas.microsoft.com/office/drawing/2014/main" val="2988750767"/>
                    </a:ext>
                  </a:extLst>
                </a:gridCol>
                <a:gridCol w="404482">
                  <a:extLst>
                    <a:ext uri="{9D8B030D-6E8A-4147-A177-3AD203B41FA5}">
                      <a16:colId xmlns:a16="http://schemas.microsoft.com/office/drawing/2014/main" val="3491355810"/>
                    </a:ext>
                  </a:extLst>
                </a:gridCol>
                <a:gridCol w="361950">
                  <a:extLst>
                    <a:ext uri="{9D8B030D-6E8A-4147-A177-3AD203B41FA5}">
                      <a16:colId xmlns:a16="http://schemas.microsoft.com/office/drawing/2014/main" val="1887057036"/>
                    </a:ext>
                  </a:extLst>
                </a:gridCol>
                <a:gridCol w="352425">
                  <a:extLst>
                    <a:ext uri="{9D8B030D-6E8A-4147-A177-3AD203B41FA5}">
                      <a16:colId xmlns:a16="http://schemas.microsoft.com/office/drawing/2014/main" val="2724548086"/>
                    </a:ext>
                  </a:extLst>
                </a:gridCol>
                <a:gridCol w="412028">
                  <a:extLst>
                    <a:ext uri="{9D8B030D-6E8A-4147-A177-3AD203B41FA5}">
                      <a16:colId xmlns:a16="http://schemas.microsoft.com/office/drawing/2014/main" val="3163421287"/>
                    </a:ext>
                  </a:extLst>
                </a:gridCol>
                <a:gridCol w="364368">
                  <a:extLst>
                    <a:ext uri="{9D8B030D-6E8A-4147-A177-3AD203B41FA5}">
                      <a16:colId xmlns:a16="http://schemas.microsoft.com/office/drawing/2014/main" val="2398919590"/>
                    </a:ext>
                  </a:extLst>
                </a:gridCol>
                <a:gridCol w="382056">
                  <a:extLst>
                    <a:ext uri="{9D8B030D-6E8A-4147-A177-3AD203B41FA5}">
                      <a16:colId xmlns:a16="http://schemas.microsoft.com/office/drawing/2014/main" val="1052940757"/>
                    </a:ext>
                  </a:extLst>
                </a:gridCol>
                <a:gridCol w="340349">
                  <a:extLst>
                    <a:ext uri="{9D8B030D-6E8A-4147-A177-3AD203B41FA5}">
                      <a16:colId xmlns:a16="http://schemas.microsoft.com/office/drawing/2014/main" val="623188744"/>
                    </a:ext>
                  </a:extLst>
                </a:gridCol>
                <a:gridCol w="349518">
                  <a:extLst>
                    <a:ext uri="{9D8B030D-6E8A-4147-A177-3AD203B41FA5}">
                      <a16:colId xmlns:a16="http://schemas.microsoft.com/office/drawing/2014/main" val="2515961813"/>
                    </a:ext>
                  </a:extLst>
                </a:gridCol>
                <a:gridCol w="420970">
                  <a:extLst>
                    <a:ext uri="{9D8B030D-6E8A-4147-A177-3AD203B41FA5}">
                      <a16:colId xmlns:a16="http://schemas.microsoft.com/office/drawing/2014/main" val="1987366053"/>
                    </a:ext>
                  </a:extLst>
                </a:gridCol>
                <a:gridCol w="351421">
                  <a:extLst>
                    <a:ext uri="{9D8B030D-6E8A-4147-A177-3AD203B41FA5}">
                      <a16:colId xmlns:a16="http://schemas.microsoft.com/office/drawing/2014/main" val="3039303453"/>
                    </a:ext>
                  </a:extLst>
                </a:gridCol>
                <a:gridCol w="496943">
                  <a:extLst>
                    <a:ext uri="{9D8B030D-6E8A-4147-A177-3AD203B41FA5}">
                      <a16:colId xmlns:a16="http://schemas.microsoft.com/office/drawing/2014/main" val="867294964"/>
                    </a:ext>
                  </a:extLst>
                </a:gridCol>
              </a:tblGrid>
              <a:tr h="195558">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Ye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Jan</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Feb</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dirty="0">
                          <a:solidFill>
                            <a:schemeClr val="bg1"/>
                          </a:solidFill>
                          <a:latin typeface="Bierstadt" panose="020B0004020202020204" pitchFamily="34" charset="0"/>
                          <a:ea typeface="Yu Gothic Light" panose="020B0300000000000000" pitchFamily="34" charset="-128"/>
                          <a:cs typeface="Helvetica" panose="020B0604020202020204"/>
                        </a:rPr>
                        <a:t>M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Apr</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May</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Jun</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Jul</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Aug</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Sep</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Oct</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Nov</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Dec</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FY/YTD</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541953838"/>
                  </a:ext>
                </a:extLst>
              </a:tr>
              <a:tr h="182520">
                <a:tc>
                  <a:txBody>
                    <a:bodyPr/>
                    <a:lstStyle/>
                    <a:p>
                      <a:pPr algn="ctr"/>
                      <a:r>
                        <a:rPr lang="en-US" sz="600" b="0">
                          <a:solidFill>
                            <a:schemeClr val="bg1"/>
                          </a:solidFill>
                          <a:latin typeface="Bierstadt" panose="020B0004020202020204" pitchFamily="34" charset="0"/>
                          <a:ea typeface="Yu Gothic Light" panose="020B0300000000000000" pitchFamily="34" charset="-128"/>
                          <a:cs typeface="Helvetica" panose="020B0604020202020204"/>
                        </a:rPr>
                        <a:t>2021</a:t>
                      </a:r>
                      <a:endParaRPr lang="en-ZA" sz="600" b="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0.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5.33%</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967875"/>
                  </a:ext>
                </a:extLst>
              </a:tr>
              <a:tr h="182520">
                <a:tc>
                  <a:txBody>
                    <a:bodyPr/>
                    <a:lstStyle/>
                    <a:p>
                      <a:pPr algn="ctr"/>
                      <a:r>
                        <a:rPr lang="en-US" sz="600" b="0" dirty="0">
                          <a:solidFill>
                            <a:schemeClr val="bg1"/>
                          </a:solidFill>
                          <a:latin typeface="Bierstadt" panose="020B0004020202020204" pitchFamily="34" charset="0"/>
                          <a:ea typeface="Yu Gothic Light" panose="020B0300000000000000" pitchFamily="34" charset="-128"/>
                          <a:cs typeface="Helvetica" panose="020B0604020202020204"/>
                        </a:rPr>
                        <a:t>Benchmark</a:t>
                      </a:r>
                      <a:endParaRPr lang="en-ZA" sz="600" b="0" dirty="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3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5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248378"/>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2</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9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9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2.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2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631251"/>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1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3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3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39%</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746856"/>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3</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1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1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90%</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5735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22.27%</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1266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4</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9.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8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2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8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7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33.11%</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810567"/>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0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45%</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003448"/>
                  </a:ext>
                </a:extLst>
              </a:tr>
              <a:tr h="169483">
                <a:tc>
                  <a:txBody>
                    <a:bodyPr/>
                    <a:lstStyle/>
                    <a:p>
                      <a:pPr algn="ctr"/>
                      <a:r>
                        <a:rPr lang="en-ZA" sz="600" b="0" dirty="0">
                          <a:solidFill>
                            <a:schemeClr val="bg1"/>
                          </a:solidFill>
                          <a:latin typeface="Bierstadt" panose="020B0004020202020204" pitchFamily="34" charset="0"/>
                          <a:ea typeface="Yu Gothic Light" panose="020B0300000000000000" pitchFamily="34" charset="-128"/>
                          <a:cs typeface="Helvetica" panose="020B0604020202020204"/>
                        </a:rPr>
                        <a:t>2025</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8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9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1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3.8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6.65%</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072681915"/>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1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3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6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0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2.6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3.6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56%</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943505122"/>
                  </a:ext>
                </a:extLst>
              </a:tr>
            </a:tbl>
          </a:graphicData>
        </a:graphic>
      </p:graphicFrame>
      <p:cxnSp>
        <p:nvCxnSpPr>
          <p:cNvPr id="1115" name="Straight Connector 1114">
            <a:extLst>
              <a:ext uri="{FF2B5EF4-FFF2-40B4-BE49-F238E27FC236}">
                <a16:creationId xmlns:a16="http://schemas.microsoft.com/office/drawing/2014/main" id="{115A132D-87C4-229E-D72B-7612E9001D6C}"/>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117" name="Group 1116">
            <a:extLst>
              <a:ext uri="{FF2B5EF4-FFF2-40B4-BE49-F238E27FC236}">
                <a16:creationId xmlns:a16="http://schemas.microsoft.com/office/drawing/2014/main" id="{1044B7A8-B9D0-329C-C0BD-AF0C9E0CC069}"/>
              </a:ext>
            </a:extLst>
          </p:cNvPr>
          <p:cNvGrpSpPr/>
          <p:nvPr/>
        </p:nvGrpSpPr>
        <p:grpSpPr>
          <a:xfrm>
            <a:off x="3483000" y="1024666"/>
            <a:ext cx="3082392" cy="232459"/>
            <a:chOff x="292608" y="1013780"/>
            <a:chExt cx="3082392" cy="232459"/>
          </a:xfrm>
        </p:grpSpPr>
        <p:cxnSp>
          <p:nvCxnSpPr>
            <p:cNvPr id="1118" name="Straight Connector 1117">
              <a:extLst>
                <a:ext uri="{FF2B5EF4-FFF2-40B4-BE49-F238E27FC236}">
                  <a16:creationId xmlns:a16="http://schemas.microsoft.com/office/drawing/2014/main" id="{7FFFBDED-BF3F-749A-FE21-9CADD728275E}"/>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9F902DF6-F73C-67CF-1296-059991C712C5}"/>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information</a:t>
              </a:r>
              <a:endParaRPr lang="en-GB" sz="1000" b="1" dirty="0">
                <a:solidFill>
                  <a:schemeClr val="bg1"/>
                </a:solidFill>
                <a:latin typeface="Bierstadt"/>
              </a:endParaRPr>
            </a:p>
          </p:txBody>
        </p:sp>
      </p:grpSp>
      <p:sp>
        <p:nvSpPr>
          <p:cNvPr id="1120" name="TextBox 1119">
            <a:extLst>
              <a:ext uri="{FF2B5EF4-FFF2-40B4-BE49-F238E27FC236}">
                <a16:creationId xmlns:a16="http://schemas.microsoft.com/office/drawing/2014/main" id="{BD05C90F-3044-8DC2-CC91-3E39100F309F}"/>
              </a:ext>
            </a:extLst>
          </p:cNvPr>
          <p:cNvSpPr txBox="1"/>
          <p:nvPr/>
        </p:nvSpPr>
        <p:spPr>
          <a:xfrm>
            <a:off x="3527229" y="1480484"/>
            <a:ext cx="1542694"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Risk profi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chemeClr val="bg1"/>
              </a:solidFill>
              <a:effectLst/>
              <a:uLnTx/>
              <a:uFillTx/>
              <a:latin typeface="Bierstadt" panose="020B0004020202020204" pitchFamily="34" charset="0"/>
            </a:endParaRPr>
          </a:p>
        </p:txBody>
      </p:sp>
      <p:graphicFrame>
        <p:nvGraphicFramePr>
          <p:cNvPr id="1121" name="Table 16">
            <a:extLst>
              <a:ext uri="{FF2B5EF4-FFF2-40B4-BE49-F238E27FC236}">
                <a16:creationId xmlns:a16="http://schemas.microsoft.com/office/drawing/2014/main" id="{A72A4B91-670B-1D9D-AB8F-5B6D9C904020}"/>
              </a:ext>
            </a:extLst>
          </p:cNvPr>
          <p:cNvGraphicFramePr>
            <a:graphicFrameLocks noGrp="1"/>
          </p:cNvGraphicFramePr>
          <p:nvPr>
            <p:extLst>
              <p:ext uri="{D42A27DB-BD31-4B8C-83A1-F6EECF244321}">
                <p14:modId xmlns:p14="http://schemas.microsoft.com/office/powerpoint/2010/main" val="162677619"/>
              </p:ext>
            </p:extLst>
          </p:nvPr>
        </p:nvGraphicFramePr>
        <p:xfrm>
          <a:off x="4449425" y="1496815"/>
          <a:ext cx="1828800" cy="243840"/>
        </p:xfrm>
        <a:graphic>
          <a:graphicData uri="http://schemas.openxmlformats.org/drawingml/2006/table">
            <a:tbl>
              <a:tblPr firstRow="1" bandRow="1">
                <a:tableStyleId>{912C8C85-51F0-491E-9774-3900AFEF0FD7}</a:tableStyleId>
              </a:tblPr>
              <a:tblGrid>
                <a:gridCol w="365760">
                  <a:extLst>
                    <a:ext uri="{9D8B030D-6E8A-4147-A177-3AD203B41FA5}">
                      <a16:colId xmlns:a16="http://schemas.microsoft.com/office/drawing/2014/main" val="3324011243"/>
                    </a:ext>
                  </a:extLst>
                </a:gridCol>
                <a:gridCol w="365760">
                  <a:extLst>
                    <a:ext uri="{9D8B030D-6E8A-4147-A177-3AD203B41FA5}">
                      <a16:colId xmlns:a16="http://schemas.microsoft.com/office/drawing/2014/main" val="3190197823"/>
                    </a:ext>
                  </a:extLst>
                </a:gridCol>
                <a:gridCol w="365760">
                  <a:extLst>
                    <a:ext uri="{9D8B030D-6E8A-4147-A177-3AD203B41FA5}">
                      <a16:colId xmlns:a16="http://schemas.microsoft.com/office/drawing/2014/main" val="325901991"/>
                    </a:ext>
                  </a:extLst>
                </a:gridCol>
                <a:gridCol w="365760">
                  <a:extLst>
                    <a:ext uri="{9D8B030D-6E8A-4147-A177-3AD203B41FA5}">
                      <a16:colId xmlns:a16="http://schemas.microsoft.com/office/drawing/2014/main" val="398635762"/>
                    </a:ext>
                  </a:extLst>
                </a:gridCol>
                <a:gridCol w="365760">
                  <a:extLst>
                    <a:ext uri="{9D8B030D-6E8A-4147-A177-3AD203B41FA5}">
                      <a16:colId xmlns:a16="http://schemas.microsoft.com/office/drawing/2014/main" val="2426451187"/>
                    </a:ext>
                  </a:extLst>
                </a:gridCol>
              </a:tblGrid>
              <a:tr h="182880">
                <a:tc>
                  <a:txBody>
                    <a:bodyPr/>
                    <a:lstStyle/>
                    <a:p>
                      <a:pPr algn="ctr"/>
                      <a:r>
                        <a:rPr lang="en-US" sz="1000" b="0">
                          <a:solidFill>
                            <a:schemeClr val="bg1"/>
                          </a:solidFill>
                          <a:latin typeface="Helvetica" panose="020B0604020202020204" pitchFamily="34" charset="0"/>
                          <a:cs typeface="Helvetica" panose="020B0604020202020204" pitchFamily="34" charset="0"/>
                        </a:rPr>
                        <a:t>1</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a:solidFill>
                            <a:schemeClr val="bg1"/>
                          </a:solidFill>
                          <a:latin typeface="Helvetica" panose="020B0604020202020204" pitchFamily="34" charset="0"/>
                          <a:cs typeface="Helvetica" panose="020B0604020202020204" pitchFamily="34" charset="0"/>
                        </a:rPr>
                        <a:t>2</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3</a:t>
                      </a:r>
                      <a:endParaRPr lang="en-ZA" sz="1000" b="0" dirty="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1" dirty="0">
                          <a:solidFill>
                            <a:schemeClr val="bg1"/>
                          </a:solidFill>
                          <a:latin typeface="Helvetica" panose="020B0604020202020204" pitchFamily="34" charset="0"/>
                          <a:cs typeface="Helvetica" panose="020B0604020202020204" pitchFamily="34" charset="0"/>
                        </a:rPr>
                        <a:t>4</a:t>
                      </a:r>
                      <a:endParaRPr lang="en-ZA" sz="1000" b="1" dirty="0">
                        <a:solidFill>
                          <a:schemeClr val="bg1"/>
                        </a:solidFill>
                        <a:latin typeface="Helvetica" panose="020B0604020202020204" pitchFamily="34" charset="0"/>
                        <a:cs typeface="Helvetica" panose="020B0604020202020204" pitchFamily="34" charset="0"/>
                      </a:endParaRPr>
                    </a:p>
                  </a:txBody>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5</a:t>
                      </a:r>
                      <a:endParaRPr lang="en-ZA" sz="1000" b="0" dirty="0">
                        <a:solidFill>
                          <a:schemeClr val="bg1"/>
                        </a:solidFill>
                        <a:latin typeface="Helvetica" panose="020B0604020202020204" pitchFamily="34" charset="0"/>
                        <a:cs typeface="Helvetica" panose="020B0604020202020204" pitchFamily="34" charset="0"/>
                      </a:endParaRPr>
                    </a:p>
                  </a:txBody>
                  <a:tcPr>
                    <a:noFill/>
                  </a:tcPr>
                </a:tc>
                <a:extLst>
                  <a:ext uri="{0D108BD9-81ED-4DB2-BD59-A6C34878D82A}">
                    <a16:rowId xmlns:a16="http://schemas.microsoft.com/office/drawing/2014/main" val="2590197038"/>
                  </a:ext>
                </a:extLst>
              </a:tr>
            </a:tbl>
          </a:graphicData>
        </a:graphic>
      </p:graphicFrame>
      <p:sp>
        <p:nvSpPr>
          <p:cNvPr id="1128" name="TextBox 1127">
            <a:extLst>
              <a:ext uri="{FF2B5EF4-FFF2-40B4-BE49-F238E27FC236}">
                <a16:creationId xmlns:a16="http://schemas.microsoft.com/office/drawing/2014/main" id="{8CF1E5B6-87B7-F8D8-4569-2578C19CE7E7}"/>
              </a:ext>
            </a:extLst>
          </p:cNvPr>
          <p:cNvSpPr txBox="1"/>
          <p:nvPr/>
        </p:nvSpPr>
        <p:spPr>
          <a:xfrm>
            <a:off x="4377986" y="1273196"/>
            <a:ext cx="62719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Low</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9" name="TextBox 1128">
            <a:extLst>
              <a:ext uri="{FF2B5EF4-FFF2-40B4-BE49-F238E27FC236}">
                <a16:creationId xmlns:a16="http://schemas.microsoft.com/office/drawing/2014/main" id="{23652EF1-9108-5747-87F3-18A8404E720C}"/>
              </a:ext>
            </a:extLst>
          </p:cNvPr>
          <p:cNvSpPr txBox="1"/>
          <p:nvPr/>
        </p:nvSpPr>
        <p:spPr>
          <a:xfrm>
            <a:off x="5876128" y="1263104"/>
            <a:ext cx="65878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High</a:t>
            </a:r>
            <a:endParaRPr kumimoji="0" lang="en-ZA"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0" name="TextBox 1129">
            <a:extLst>
              <a:ext uri="{FF2B5EF4-FFF2-40B4-BE49-F238E27FC236}">
                <a16:creationId xmlns:a16="http://schemas.microsoft.com/office/drawing/2014/main" id="{41808883-77AC-2219-F048-85CA6077486F}"/>
              </a:ext>
            </a:extLst>
          </p:cNvPr>
          <p:cNvSpPr txBox="1"/>
          <p:nvPr/>
        </p:nvSpPr>
        <p:spPr>
          <a:xfrm>
            <a:off x="5005182" y="1274531"/>
            <a:ext cx="91440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Moderate</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1134" name="Group 1133">
            <a:extLst>
              <a:ext uri="{FF2B5EF4-FFF2-40B4-BE49-F238E27FC236}">
                <a16:creationId xmlns:a16="http://schemas.microsoft.com/office/drawing/2014/main" id="{F6E6E961-5D71-26C8-E226-D3661BE6E15B}"/>
              </a:ext>
            </a:extLst>
          </p:cNvPr>
          <p:cNvGrpSpPr/>
          <p:nvPr/>
        </p:nvGrpSpPr>
        <p:grpSpPr>
          <a:xfrm>
            <a:off x="3531992" y="1793130"/>
            <a:ext cx="2984409" cy="1339191"/>
            <a:chOff x="3529619" y="2021004"/>
            <a:chExt cx="2984409" cy="1339191"/>
          </a:xfrm>
        </p:grpSpPr>
        <p:sp>
          <p:nvSpPr>
            <p:cNvPr id="1122" name="TextBox 1121">
              <a:extLst>
                <a:ext uri="{FF2B5EF4-FFF2-40B4-BE49-F238E27FC236}">
                  <a16:creationId xmlns:a16="http://schemas.microsoft.com/office/drawing/2014/main" id="{8585F231-2C62-B0AE-B7B3-1BAB42484B03}"/>
                </a:ext>
              </a:extLst>
            </p:cNvPr>
            <p:cNvSpPr txBox="1"/>
            <p:nvPr/>
          </p:nvSpPr>
          <p:spPr>
            <a:xfrm>
              <a:off x="3531303" y="2322683"/>
              <a:ext cx="106892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463550" algn="l"/>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Inception da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Benchmark</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3" name="TextBox 1122">
              <a:extLst>
                <a:ext uri="{FF2B5EF4-FFF2-40B4-BE49-F238E27FC236}">
                  <a16:creationId xmlns:a16="http://schemas.microsoft.com/office/drawing/2014/main" id="{93390F13-D166-4162-3F1E-05D458B33940}"/>
                </a:ext>
              </a:extLst>
            </p:cNvPr>
            <p:cNvSpPr txBox="1"/>
            <p:nvPr/>
          </p:nvSpPr>
          <p:spPr>
            <a:xfrm>
              <a:off x="5018209" y="2336574"/>
              <a:ext cx="106892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Bierstadt" panose="020B0004020202020204" pitchFamily="34" charset="0"/>
                  <a:cs typeface="Helvetica" panose="020B0604020202020204" pitchFamily="34" charset="0"/>
                </a:rPr>
                <a:t>6</a:t>
              </a: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 Sep 2021</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endParaRPr>
            </a:p>
          </p:txBody>
        </p:sp>
        <p:sp>
          <p:nvSpPr>
            <p:cNvPr id="1124" name="BENCH_NAME">
              <a:extLst>
                <a:ext uri="{FF2B5EF4-FFF2-40B4-BE49-F238E27FC236}">
                  <a16:creationId xmlns:a16="http://schemas.microsoft.com/office/drawing/2014/main" id="{EE16854C-077E-8B7B-0CA5-E7BAA77A83E3}"/>
                </a:ext>
              </a:extLst>
            </p:cNvPr>
            <p:cNvSpPr txBox="1"/>
            <p:nvPr/>
          </p:nvSpPr>
          <p:spPr>
            <a:xfrm>
              <a:off x="5035140" y="2610906"/>
              <a:ext cx="87682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ACWI</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endParaRPr>
            </a:p>
          </p:txBody>
        </p:sp>
        <p:sp>
          <p:nvSpPr>
            <p:cNvPr id="1125" name="TextBox 1124">
              <a:extLst>
                <a:ext uri="{FF2B5EF4-FFF2-40B4-BE49-F238E27FC236}">
                  <a16:creationId xmlns:a16="http://schemas.microsoft.com/office/drawing/2014/main" id="{56C16C64-D8C9-F3AD-38F2-00DFE3100BB3}"/>
                </a:ext>
              </a:extLst>
            </p:cNvPr>
            <p:cNvSpPr txBox="1"/>
            <p:nvPr/>
          </p:nvSpPr>
          <p:spPr>
            <a:xfrm>
              <a:off x="3533519" y="2845990"/>
              <a:ext cx="136159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Portfolio denomination</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6" name="TextBox 1125">
              <a:extLst>
                <a:ext uri="{FF2B5EF4-FFF2-40B4-BE49-F238E27FC236}">
                  <a16:creationId xmlns:a16="http://schemas.microsoft.com/office/drawing/2014/main" id="{70F2B244-9C00-F88B-7655-C7F1E159FA21}"/>
                </a:ext>
              </a:extLst>
            </p:cNvPr>
            <p:cNvSpPr txBox="1"/>
            <p:nvPr/>
          </p:nvSpPr>
          <p:spPr>
            <a:xfrm>
              <a:off x="5218146" y="2859128"/>
              <a:ext cx="47323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USD </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7" name="TextBox 1126">
              <a:extLst>
                <a:ext uri="{FF2B5EF4-FFF2-40B4-BE49-F238E27FC236}">
                  <a16:creationId xmlns:a16="http://schemas.microsoft.com/office/drawing/2014/main" id="{196B4DFA-4EC6-D389-607B-00BFE9D71E6C}"/>
                </a:ext>
              </a:extLst>
            </p:cNvPr>
            <p:cNvSpPr txBox="1"/>
            <p:nvPr/>
          </p:nvSpPr>
          <p:spPr>
            <a:xfrm>
              <a:off x="3529619" y="2027063"/>
              <a:ext cx="120696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Portfolio structure</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1" name="TextBox 1130">
              <a:extLst>
                <a:ext uri="{FF2B5EF4-FFF2-40B4-BE49-F238E27FC236}">
                  <a16:creationId xmlns:a16="http://schemas.microsoft.com/office/drawing/2014/main" id="{3111AED9-6429-2608-940E-46E70B879D65}"/>
                </a:ext>
              </a:extLst>
            </p:cNvPr>
            <p:cNvSpPr txBox="1"/>
            <p:nvPr/>
          </p:nvSpPr>
          <p:spPr>
            <a:xfrm>
              <a:off x="4643301" y="2021004"/>
              <a:ext cx="18707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Discretionary/Direct ownership</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2" name="TextBox 1131">
              <a:extLst>
                <a:ext uri="{FF2B5EF4-FFF2-40B4-BE49-F238E27FC236}">
                  <a16:creationId xmlns:a16="http://schemas.microsoft.com/office/drawing/2014/main" id="{04BBF164-6973-A07B-B1B2-CED2F4CC5011}"/>
                </a:ext>
              </a:extLst>
            </p:cNvPr>
            <p:cNvSpPr txBox="1"/>
            <p:nvPr/>
          </p:nvSpPr>
          <p:spPr>
            <a:xfrm>
              <a:off x="3533656" y="3129363"/>
              <a:ext cx="1162314" cy="230832"/>
            </a:xfrm>
            <a:prstGeom prst="rect">
              <a:avLst/>
            </a:prstGeom>
            <a:noFill/>
          </p:spPr>
          <p:txBody>
            <a:bodyPr wrap="square" rtlCol="0">
              <a:spAutoFit/>
            </a:bodyPr>
            <a:lstStyle/>
            <a:p>
              <a:r>
                <a:rPr lang="en-US" sz="900">
                  <a:solidFill>
                    <a:schemeClr val="bg1"/>
                  </a:solidFill>
                  <a:latin typeface="Bierstadt" panose="020B0004020202020204" pitchFamily="34" charset="0"/>
                  <a:cs typeface="Helvetica" panose="020B0604020202020204" pitchFamily="34" charset="0"/>
                </a:rPr>
                <a:t>Management fee</a:t>
              </a:r>
              <a:endParaRPr lang="en-ZA" sz="900">
                <a:solidFill>
                  <a:schemeClr val="bg1"/>
                </a:solidFill>
                <a:latin typeface="Bierstadt" panose="020B0004020202020204" pitchFamily="34" charset="0"/>
                <a:cs typeface="Helvetica" panose="020B0604020202020204" pitchFamily="34" charset="0"/>
              </a:endParaRPr>
            </a:p>
          </p:txBody>
        </p:sp>
        <p:sp>
          <p:nvSpPr>
            <p:cNvPr id="1133" name="TextBox 1132">
              <a:extLst>
                <a:ext uri="{FF2B5EF4-FFF2-40B4-BE49-F238E27FC236}">
                  <a16:creationId xmlns:a16="http://schemas.microsoft.com/office/drawing/2014/main" id="{A74CE2D0-34DD-CD08-9788-548F5D2157C0}"/>
                </a:ext>
              </a:extLst>
            </p:cNvPr>
            <p:cNvSpPr txBox="1"/>
            <p:nvPr/>
          </p:nvSpPr>
          <p:spPr>
            <a:xfrm>
              <a:off x="4877544" y="3123995"/>
              <a:ext cx="1318471" cy="230832"/>
            </a:xfrm>
            <a:prstGeom prst="rect">
              <a:avLst/>
            </a:prstGeom>
            <a:noFill/>
          </p:spPr>
          <p:txBody>
            <a:bodyPr wrap="square" lIns="91440" tIns="45720" rIns="91440" bIns="45720" rtlCol="0" anchor="t">
              <a:spAutoFit/>
            </a:bodyPr>
            <a:lstStyle/>
            <a:p>
              <a:r>
                <a:rPr lang="en-ZA" sz="900" dirty="0">
                  <a:solidFill>
                    <a:schemeClr val="bg1"/>
                  </a:solidFill>
                  <a:latin typeface="Bierstadt" panose="020B0004020202020204" pitchFamily="34" charset="0"/>
                  <a:cs typeface="Helvetica"/>
                </a:rPr>
                <a:t>1% p.a. incl. VAT</a:t>
              </a:r>
            </a:p>
          </p:txBody>
        </p:sp>
      </p:grpSp>
      <p:grpSp>
        <p:nvGrpSpPr>
          <p:cNvPr id="3" name="Group 2">
            <a:extLst>
              <a:ext uri="{FF2B5EF4-FFF2-40B4-BE49-F238E27FC236}">
                <a16:creationId xmlns:a16="http://schemas.microsoft.com/office/drawing/2014/main" id="{D614AE55-CE52-F6FE-3408-DD2429B55CC5}"/>
              </a:ext>
            </a:extLst>
          </p:cNvPr>
          <p:cNvGrpSpPr/>
          <p:nvPr/>
        </p:nvGrpSpPr>
        <p:grpSpPr>
          <a:xfrm>
            <a:off x="3483000" y="5109925"/>
            <a:ext cx="3082392" cy="232459"/>
            <a:chOff x="3483000" y="5134309"/>
            <a:chExt cx="3082392" cy="232459"/>
          </a:xfrm>
        </p:grpSpPr>
        <p:cxnSp>
          <p:nvCxnSpPr>
            <p:cNvPr id="1136" name="Straight Connector 1135">
              <a:extLst>
                <a:ext uri="{FF2B5EF4-FFF2-40B4-BE49-F238E27FC236}">
                  <a16:creationId xmlns:a16="http://schemas.microsoft.com/office/drawing/2014/main" id="{A9061FFE-B890-DF0E-40BB-8D02D5A96E57}"/>
                </a:ext>
              </a:extLst>
            </p:cNvPr>
            <p:cNvCxnSpPr/>
            <p:nvPr/>
          </p:nvCxnSpPr>
          <p:spPr>
            <a:xfrm>
              <a:off x="3483000" y="5366768"/>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37" name="Rectangle 1136">
              <a:extLst>
                <a:ext uri="{FF2B5EF4-FFF2-40B4-BE49-F238E27FC236}">
                  <a16:creationId xmlns:a16="http://schemas.microsoft.com/office/drawing/2014/main" id="{1741FC84-33AD-5D98-8545-516330A7EF3C}"/>
                </a:ext>
              </a:extLst>
            </p:cNvPr>
            <p:cNvSpPr/>
            <p:nvPr/>
          </p:nvSpPr>
          <p:spPr>
            <a:xfrm>
              <a:off x="3483000" y="5134309"/>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volatility</a:t>
              </a:r>
              <a:endParaRPr lang="en-GB" sz="1000" b="1" dirty="0">
                <a:solidFill>
                  <a:schemeClr val="bg1"/>
                </a:solidFill>
                <a:latin typeface="Bierstadt"/>
              </a:endParaRPr>
            </a:p>
          </p:txBody>
        </p:sp>
      </p:grpSp>
      <p:graphicFrame>
        <p:nvGraphicFramePr>
          <p:cNvPr id="1148" name="TOP_HOLDINGS_TABLE">
            <a:extLst>
              <a:ext uri="{FF2B5EF4-FFF2-40B4-BE49-F238E27FC236}">
                <a16:creationId xmlns:a16="http://schemas.microsoft.com/office/drawing/2014/main" id="{5892CF8A-F628-EC82-4DEE-32CF5B7A9034}"/>
              </a:ext>
            </a:extLst>
          </p:cNvPr>
          <p:cNvGraphicFramePr>
            <a:graphicFrameLocks noGrp="1"/>
          </p:cNvGraphicFramePr>
          <p:nvPr>
            <p:extLst>
              <p:ext uri="{D42A27DB-BD31-4B8C-83A1-F6EECF244321}">
                <p14:modId xmlns:p14="http://schemas.microsoft.com/office/powerpoint/2010/main" val="4261827884"/>
              </p:ext>
            </p:extLst>
          </p:nvPr>
        </p:nvGraphicFramePr>
        <p:xfrm>
          <a:off x="3561468" y="3482530"/>
          <a:ext cx="2925456" cy="1596144"/>
        </p:xfrm>
        <a:graphic>
          <a:graphicData uri="http://schemas.openxmlformats.org/drawingml/2006/table">
            <a:tbl>
              <a:tblPr firstRow="1" bandRow="1">
                <a:tableStyleId>{C083E6E3-FA7D-4D7B-A595-EF9225AFEA82}</a:tableStyleId>
              </a:tblPr>
              <a:tblGrid>
                <a:gridCol w="2218768">
                  <a:extLst>
                    <a:ext uri="{9D8B030D-6E8A-4147-A177-3AD203B41FA5}">
                      <a16:colId xmlns:a16="http://schemas.microsoft.com/office/drawing/2014/main" val="878762420"/>
                    </a:ext>
                  </a:extLst>
                </a:gridCol>
                <a:gridCol w="706688">
                  <a:extLst>
                    <a:ext uri="{9D8B030D-6E8A-4147-A177-3AD203B41FA5}">
                      <a16:colId xmlns:a16="http://schemas.microsoft.com/office/drawing/2014/main" val="646333369"/>
                    </a:ext>
                  </a:extLst>
                </a:gridCol>
              </a:tblGrid>
              <a:tr h="266024">
                <a:tc>
                  <a:txBody>
                    <a:bodyPr/>
                    <a:lstStyle/>
                    <a:p>
                      <a:r>
                        <a:rPr lang="en-GB" sz="900" dirty="0">
                          <a:solidFill>
                            <a:schemeClr val="bg1"/>
                          </a:solidFill>
                          <a:latin typeface="Bierstadt" panose="020B0004020202020204" pitchFamily="34" charset="0"/>
                        </a:rPr>
                        <a:t>Name</a:t>
                      </a:r>
                    </a:p>
                  </a:txBody>
                  <a:tcPr marL="36000" marR="36000"/>
                </a:tc>
                <a:tc>
                  <a:txBody>
                    <a:bodyPr/>
                    <a:lstStyle/>
                    <a:p>
                      <a:pPr algn="ctr"/>
                      <a:r>
                        <a:rPr lang="en-GB" sz="900" dirty="0">
                          <a:solidFill>
                            <a:schemeClr val="bg1"/>
                          </a:solidFill>
                          <a:latin typeface="Bierstadt" panose="020B0004020202020204" pitchFamily="34" charset="0"/>
                        </a:rPr>
                        <a:t>% of NAV</a:t>
                      </a:r>
                    </a:p>
                  </a:txBody>
                  <a:tcPr/>
                </a:tc>
                <a:extLst>
                  <a:ext uri="{0D108BD9-81ED-4DB2-BD59-A6C34878D82A}">
                    <a16:rowId xmlns:a16="http://schemas.microsoft.com/office/drawing/2014/main" val="2235101578"/>
                  </a:ext>
                </a:extLst>
              </a:tr>
              <a:tr h="266024">
                <a:tc>
                  <a:txBody>
                    <a:bodyPr/>
                    <a:lstStyle/>
                    <a:p>
                      <a:r>
                        <a:rPr lang="en-GB" sz="900" dirty="0">
                          <a:solidFill>
                            <a:schemeClr val="bg1"/>
                          </a:solidFill>
                          <a:latin typeface="Bierstadt" panose="020B0004020202020204" pitchFamily="34" charset="0"/>
                        </a:rPr>
                        <a:t>TSMC - ADR</a:t>
                      </a:r>
                    </a:p>
                  </a:txBody>
                  <a:tcPr marL="36000" marR="36000" anchor="ctr"/>
                </a:tc>
                <a:tc>
                  <a:txBody>
                    <a:bodyPr/>
                    <a:lstStyle/>
                    <a:p>
                      <a:pPr algn="ctr"/>
                      <a:r>
                        <a:rPr lang="en-GB" sz="900" dirty="0">
                          <a:solidFill>
                            <a:schemeClr val="bg1"/>
                          </a:solidFill>
                          <a:latin typeface="Bierstadt" panose="020B0004020202020204" pitchFamily="34" charset="0"/>
                        </a:rPr>
                        <a:t>8.60%</a:t>
                      </a:r>
                    </a:p>
                  </a:txBody>
                  <a:tcPr anchor="ctr"/>
                </a:tc>
                <a:extLst>
                  <a:ext uri="{0D108BD9-81ED-4DB2-BD59-A6C34878D82A}">
                    <a16:rowId xmlns:a16="http://schemas.microsoft.com/office/drawing/2014/main" val="1455314511"/>
                  </a:ext>
                </a:extLst>
              </a:tr>
              <a:tr h="266024">
                <a:tc>
                  <a:txBody>
                    <a:bodyPr/>
                    <a:lstStyle/>
                    <a:p>
                      <a:r>
                        <a:rPr lang="en-GB" sz="900" dirty="0">
                          <a:solidFill>
                            <a:schemeClr val="bg1"/>
                          </a:solidFill>
                          <a:latin typeface="Bierstadt" panose="020B0004020202020204" pitchFamily="34" charset="0"/>
                        </a:rPr>
                        <a:t>NVIDIA Corp.</a:t>
                      </a:r>
                    </a:p>
                  </a:txBody>
                  <a:tcPr marL="36000" marR="36000" anchor="ctr"/>
                </a:tc>
                <a:tc>
                  <a:txBody>
                    <a:bodyPr/>
                    <a:lstStyle/>
                    <a:p>
                      <a:pPr algn="ctr"/>
                      <a:r>
                        <a:rPr lang="en-GB" sz="900" dirty="0">
                          <a:solidFill>
                            <a:schemeClr val="bg1"/>
                          </a:solidFill>
                          <a:latin typeface="Bierstadt" panose="020B0004020202020204" pitchFamily="34" charset="0"/>
                        </a:rPr>
                        <a:t>8.16%</a:t>
                      </a:r>
                    </a:p>
                  </a:txBody>
                  <a:tcPr anchor="ctr"/>
                </a:tc>
                <a:extLst>
                  <a:ext uri="{0D108BD9-81ED-4DB2-BD59-A6C34878D82A}">
                    <a16:rowId xmlns:a16="http://schemas.microsoft.com/office/drawing/2014/main" val="3743326145"/>
                  </a:ext>
                </a:extLst>
              </a:tr>
              <a:tr h="266024">
                <a:tc>
                  <a:txBody>
                    <a:bodyPr/>
                    <a:lstStyle/>
                    <a:p>
                      <a:r>
                        <a:rPr lang="en-GB" sz="900" dirty="0">
                          <a:solidFill>
                            <a:schemeClr val="bg1"/>
                          </a:solidFill>
                          <a:latin typeface="Bierstadt" panose="020B0004020202020204" pitchFamily="34" charset="0"/>
                        </a:rPr>
                        <a:t>First Quantum Minerals Ltd</a:t>
                      </a:r>
                    </a:p>
                  </a:txBody>
                  <a:tcPr marL="36000" marR="36000" anchor="ctr"/>
                </a:tc>
                <a:tc>
                  <a:txBody>
                    <a:bodyPr/>
                    <a:lstStyle/>
                    <a:p>
                      <a:pPr algn="ctr"/>
                      <a:r>
                        <a:rPr lang="en-GB" sz="900" dirty="0">
                          <a:solidFill>
                            <a:schemeClr val="bg1"/>
                          </a:solidFill>
                          <a:latin typeface="Bierstadt" panose="020B0004020202020204" pitchFamily="34" charset="0"/>
                        </a:rPr>
                        <a:t>7.94%</a:t>
                      </a:r>
                    </a:p>
                  </a:txBody>
                  <a:tcPr anchor="ctr"/>
                </a:tc>
                <a:extLst>
                  <a:ext uri="{0D108BD9-81ED-4DB2-BD59-A6C34878D82A}">
                    <a16:rowId xmlns:a16="http://schemas.microsoft.com/office/drawing/2014/main" val="34337268"/>
                  </a:ext>
                </a:extLst>
              </a:tr>
              <a:tr h="266024">
                <a:tc>
                  <a:txBody>
                    <a:bodyPr/>
                    <a:lstStyle/>
                    <a:p>
                      <a:r>
                        <a:rPr lang="en-GB" sz="900" dirty="0">
                          <a:solidFill>
                            <a:schemeClr val="bg1"/>
                          </a:solidFill>
                          <a:latin typeface="Bierstadt" panose="020B0004020202020204" pitchFamily="34" charset="0"/>
                        </a:rPr>
                        <a:t>JPMorgan Chase &amp; Co.</a:t>
                      </a:r>
                    </a:p>
                  </a:txBody>
                  <a:tcPr marL="36000" marR="36000" anchor="ctr"/>
                </a:tc>
                <a:tc>
                  <a:txBody>
                    <a:bodyPr/>
                    <a:lstStyle/>
                    <a:p>
                      <a:pPr algn="ctr"/>
                      <a:r>
                        <a:rPr lang="en-GB" sz="900" dirty="0">
                          <a:solidFill>
                            <a:schemeClr val="bg1"/>
                          </a:solidFill>
                          <a:latin typeface="Bierstadt" panose="020B0004020202020204" pitchFamily="34" charset="0"/>
                        </a:rPr>
                        <a:t>7.20%</a:t>
                      </a:r>
                    </a:p>
                  </a:txBody>
                  <a:tcPr anchor="ctr"/>
                </a:tc>
                <a:extLst>
                  <a:ext uri="{0D108BD9-81ED-4DB2-BD59-A6C34878D82A}">
                    <a16:rowId xmlns:a16="http://schemas.microsoft.com/office/drawing/2014/main" val="3116781964"/>
                  </a:ext>
                </a:extLst>
              </a:tr>
              <a:tr h="266024">
                <a:tc>
                  <a:txBody>
                    <a:bodyPr/>
                    <a:lstStyle/>
                    <a:p>
                      <a:r>
                        <a:rPr lang="en-GB" sz="900" dirty="0">
                          <a:solidFill>
                            <a:schemeClr val="bg1"/>
                          </a:solidFill>
                          <a:latin typeface="Bierstadt" panose="020B0004020202020204" pitchFamily="34" charset="0"/>
                        </a:rPr>
                        <a:t>Meta Platforms Inc.</a:t>
                      </a:r>
                    </a:p>
                  </a:txBody>
                  <a:tcPr marL="36000" marR="36000" anchor="ctr"/>
                </a:tc>
                <a:tc>
                  <a:txBody>
                    <a:bodyPr/>
                    <a:lstStyle/>
                    <a:p>
                      <a:pPr algn="ctr"/>
                      <a:r>
                        <a:rPr lang="en-GB" sz="900" dirty="0">
                          <a:solidFill>
                            <a:schemeClr val="bg1"/>
                          </a:solidFill>
                          <a:latin typeface="Bierstadt" panose="020B0004020202020204" pitchFamily="34" charset="0"/>
                        </a:rPr>
                        <a:t>6.34%</a:t>
                      </a:r>
                    </a:p>
                  </a:txBody>
                  <a:tcPr anchor="ctr"/>
                </a:tc>
                <a:extLst>
                  <a:ext uri="{0D108BD9-81ED-4DB2-BD59-A6C34878D82A}">
                    <a16:rowId xmlns:a16="http://schemas.microsoft.com/office/drawing/2014/main" val="3350189937"/>
                  </a:ext>
                </a:extLst>
              </a:tr>
            </a:tbl>
          </a:graphicData>
        </a:graphic>
      </p:graphicFrame>
      <p:pic>
        <p:nvPicPr>
          <p:cNvPr id="1154" name="Picture 1153">
            <a:extLst>
              <a:ext uri="{FF2B5EF4-FFF2-40B4-BE49-F238E27FC236}">
                <a16:creationId xmlns:a16="http://schemas.microsoft.com/office/drawing/2014/main" id="{49B199E8-778D-2570-ADCC-BCC2EC8328F9}"/>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p:blipFill>
        <p:spPr>
          <a:xfrm>
            <a:off x="5185390" y="4313254"/>
            <a:ext cx="409089" cy="191932"/>
          </a:xfrm>
          <a:prstGeom prst="rect">
            <a:avLst/>
          </a:prstGeom>
        </p:spPr>
      </p:pic>
      <p:pic>
        <p:nvPicPr>
          <p:cNvPr id="1153" name="Picture 1152">
            <a:extLst>
              <a:ext uri="{FF2B5EF4-FFF2-40B4-BE49-F238E27FC236}">
                <a16:creationId xmlns:a16="http://schemas.microsoft.com/office/drawing/2014/main" id="{E16501DF-2F2C-91E3-C393-56BFE5D9703E}"/>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Lst>
          </a:blip>
          <a:stretch>
            <a:fillRect/>
          </a:stretch>
        </p:blipFill>
        <p:spPr>
          <a:xfrm>
            <a:off x="5128379" y="3858182"/>
            <a:ext cx="523112" cy="95905"/>
          </a:xfrm>
          <a:prstGeom prst="rect">
            <a:avLst/>
          </a:prstGeom>
        </p:spPr>
      </p:pic>
      <p:sp>
        <p:nvSpPr>
          <p:cNvPr id="5" name="Return since inception textbox">
            <a:extLst>
              <a:ext uri="{FF2B5EF4-FFF2-40B4-BE49-F238E27FC236}">
                <a16:creationId xmlns:a16="http://schemas.microsoft.com/office/drawing/2014/main" id="{FF8C9359-079B-6CB5-3198-486A750D758F}"/>
              </a:ext>
            </a:extLst>
          </p:cNvPr>
          <p:cNvSpPr/>
          <p:nvPr/>
        </p:nvSpPr>
        <p:spPr>
          <a:xfrm>
            <a:off x="364607"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return in USD </a:t>
            </a:r>
            <a:br>
              <a:rPr lang="en-GB" sz="700" dirty="0">
                <a:solidFill>
                  <a:schemeClr val="bg1"/>
                </a:solidFill>
              </a:rPr>
            </a:br>
            <a:r>
              <a:rPr lang="en-GB" sz="700" dirty="0">
                <a:solidFill>
                  <a:schemeClr val="bg1"/>
                </a:solidFill>
              </a:rPr>
              <a:t>since inception</a:t>
            </a:r>
            <a:endParaRPr lang="en-GB" sz="1000" b="1" dirty="0">
              <a:solidFill>
                <a:schemeClr val="bg1"/>
              </a:solidFill>
            </a:endParaRPr>
          </a:p>
        </p:txBody>
      </p:sp>
      <p:pic>
        <p:nvPicPr>
          <p:cNvPr id="1156" name="Picture 1155">
            <a:extLst>
              <a:ext uri="{FF2B5EF4-FFF2-40B4-BE49-F238E27FC236}">
                <a16:creationId xmlns:a16="http://schemas.microsoft.com/office/drawing/2014/main" id="{704277E7-DB22-E266-5D21-BD9C00F72855}"/>
              </a:ext>
            </a:extLst>
          </p:cNvPr>
          <p:cNvPicPr>
            <a:picLocks noChangeAspect="1"/>
          </p:cNvPicPr>
          <p:nvPr/>
        </p:nvPicPr>
        <p:blipFill>
          <a:blip r:embed="rId18"/>
          <a:srcRect l="28587" r="28587"/>
          <a:stretch>
            <a:fillRect/>
          </a:stretch>
        </p:blipFill>
        <p:spPr>
          <a:xfrm>
            <a:off x="5272617" y="4057954"/>
            <a:ext cx="234635" cy="182629"/>
          </a:xfrm>
          <a:prstGeom prst="rect">
            <a:avLst/>
          </a:prstGeom>
        </p:spPr>
      </p:pic>
      <p:pic>
        <p:nvPicPr>
          <p:cNvPr id="1157" name="Picture 1156">
            <a:extLst>
              <a:ext uri="{FF2B5EF4-FFF2-40B4-BE49-F238E27FC236}">
                <a16:creationId xmlns:a16="http://schemas.microsoft.com/office/drawing/2014/main" id="{B3FAC5A4-A457-C2FF-A22A-0BF707979552}"/>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Lst>
          </a:blip>
          <a:stretch>
            <a:fillRect/>
          </a:stretch>
        </p:blipFill>
        <p:spPr>
          <a:xfrm>
            <a:off x="5113390" y="4620541"/>
            <a:ext cx="553088" cy="113614"/>
          </a:xfrm>
          <a:prstGeom prst="rect">
            <a:avLst/>
          </a:prstGeom>
        </p:spPr>
      </p:pic>
      <p:pic>
        <p:nvPicPr>
          <p:cNvPr id="1158" name="Picture 1157">
            <a:extLst>
              <a:ext uri="{FF2B5EF4-FFF2-40B4-BE49-F238E27FC236}">
                <a16:creationId xmlns:a16="http://schemas.microsoft.com/office/drawing/2014/main" id="{002F52CE-9C6A-941E-158B-2E461D399CDF}"/>
              </a:ext>
            </a:extLst>
          </p:cNvPr>
          <p:cNvPicPr>
            <a:picLocks noChangeAspect="1"/>
          </p:cNvPicPr>
          <p:nvPr/>
        </p:nvPicPr>
        <p:blipFill>
          <a:blip r:embed="rId21">
            <a:extLst>
              <a:ext uri="{BEBA8EAE-BF5A-486C-A8C5-ECC9F3942E4B}">
                <a14:imgProps xmlns:a14="http://schemas.microsoft.com/office/drawing/2010/main">
                  <a14:imgLayer r:embed="rId22">
                    <a14:imgEffect>
                      <a14:brightnessContrast bright="100000"/>
                    </a14:imgEffect>
                  </a14:imgLayer>
                </a14:imgProps>
              </a:ext>
            </a:extLst>
          </a:blip>
          <a:stretch>
            <a:fillRect/>
          </a:stretch>
        </p:blipFill>
        <p:spPr>
          <a:xfrm>
            <a:off x="5163456" y="4909910"/>
            <a:ext cx="452956" cy="91260"/>
          </a:xfrm>
          <a:prstGeom prst="rect">
            <a:avLst/>
          </a:prstGeom>
        </p:spPr>
      </p:pic>
      <p:sp>
        <p:nvSpPr>
          <p:cNvPr id="10" name="avg compounded yearly return since inception textbox">
            <a:extLst>
              <a:ext uri="{FF2B5EF4-FFF2-40B4-BE49-F238E27FC236}">
                <a16:creationId xmlns:a16="http://schemas.microsoft.com/office/drawing/2014/main" id="{5ACF03ED-94B4-9721-D6EE-2F6EAEB25292}"/>
              </a:ext>
            </a:extLst>
          </p:cNvPr>
          <p:cNvSpPr/>
          <p:nvPr/>
        </p:nvSpPr>
        <p:spPr>
          <a:xfrm>
            <a:off x="2371535"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Avg. </a:t>
            </a:r>
            <a:r>
              <a:rPr lang="en-US" sz="700" dirty="0">
                <a:solidFill>
                  <a:schemeClr val="bg1"/>
                </a:solidFill>
              </a:rPr>
              <a:t>compounded yearly</a:t>
            </a:r>
            <a:br>
              <a:rPr lang="en-US" sz="700" dirty="0">
                <a:solidFill>
                  <a:schemeClr val="bg1"/>
                </a:solidFill>
              </a:rPr>
            </a:br>
            <a:r>
              <a:rPr lang="en-US" sz="700" dirty="0">
                <a:solidFill>
                  <a:schemeClr val="bg1"/>
                </a:solidFill>
              </a:rPr>
              <a:t>return since inception</a:t>
            </a:r>
            <a:endParaRPr lang="en-GB" sz="900" b="1" dirty="0">
              <a:solidFill>
                <a:schemeClr val="bg1"/>
              </a:solidFill>
            </a:endParaRPr>
          </a:p>
        </p:txBody>
      </p:sp>
      <p:sp>
        <p:nvSpPr>
          <p:cNvPr id="9" name="YTD return textbox">
            <a:extLst>
              <a:ext uri="{FF2B5EF4-FFF2-40B4-BE49-F238E27FC236}">
                <a16:creationId xmlns:a16="http://schemas.microsoft.com/office/drawing/2014/main" id="{4F743491-8F3F-770B-A226-293C9C2C03FC}"/>
              </a:ext>
            </a:extLst>
          </p:cNvPr>
          <p:cNvSpPr/>
          <p:nvPr/>
        </p:nvSpPr>
        <p:spPr>
          <a:xfrm>
            <a:off x="1368071"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YTD return </a:t>
            </a:r>
            <a:br>
              <a:rPr lang="en-GB" sz="700" dirty="0">
                <a:solidFill>
                  <a:schemeClr val="bg1"/>
                </a:solidFill>
              </a:rPr>
            </a:br>
            <a:r>
              <a:rPr lang="en-GB" sz="700" dirty="0">
                <a:solidFill>
                  <a:schemeClr val="bg1"/>
                </a:solidFill>
              </a:rPr>
              <a:t>in USD</a:t>
            </a:r>
            <a:endParaRPr lang="en-GB" sz="1000" b="1" dirty="0">
              <a:solidFill>
                <a:schemeClr val="bg1"/>
              </a:solidFill>
            </a:endParaRPr>
          </a:p>
        </p:txBody>
      </p:sp>
      <p:graphicFrame>
        <p:nvGraphicFramePr>
          <p:cNvPr id="6" name="VOLATILITY_TABLE">
            <a:extLst>
              <a:ext uri="{FF2B5EF4-FFF2-40B4-BE49-F238E27FC236}">
                <a16:creationId xmlns:a16="http://schemas.microsoft.com/office/drawing/2014/main" id="{181714F8-70BB-E94C-F57D-21041F9D1C79}"/>
              </a:ext>
            </a:extLst>
          </p:cNvPr>
          <p:cNvGraphicFramePr>
            <a:graphicFrameLocks noGrp="1"/>
          </p:cNvGraphicFramePr>
          <p:nvPr>
            <p:extLst>
              <p:ext uri="{D42A27DB-BD31-4B8C-83A1-F6EECF244321}">
                <p14:modId xmlns:p14="http://schemas.microsoft.com/office/powerpoint/2010/main" val="388570663"/>
              </p:ext>
            </p:extLst>
          </p:nvPr>
        </p:nvGraphicFramePr>
        <p:xfrm>
          <a:off x="3561469" y="5410372"/>
          <a:ext cx="2925455" cy="1264804"/>
        </p:xfrm>
        <a:graphic>
          <a:graphicData uri="http://schemas.openxmlformats.org/drawingml/2006/table">
            <a:tbl>
              <a:tblPr firstRow="1" bandRow="1">
                <a:tableStyleId>{C083E6E3-FA7D-4D7B-A595-EF9225AFEA82}</a:tableStyleId>
              </a:tblPr>
              <a:tblGrid>
                <a:gridCol w="1205603">
                  <a:extLst>
                    <a:ext uri="{9D8B030D-6E8A-4147-A177-3AD203B41FA5}">
                      <a16:colId xmlns:a16="http://schemas.microsoft.com/office/drawing/2014/main" val="3093225150"/>
                    </a:ext>
                  </a:extLst>
                </a:gridCol>
                <a:gridCol w="859926">
                  <a:extLst>
                    <a:ext uri="{9D8B030D-6E8A-4147-A177-3AD203B41FA5}">
                      <a16:colId xmlns:a16="http://schemas.microsoft.com/office/drawing/2014/main" val="2083068548"/>
                    </a:ext>
                  </a:extLst>
                </a:gridCol>
                <a:gridCol w="859926">
                  <a:extLst>
                    <a:ext uri="{9D8B030D-6E8A-4147-A177-3AD203B41FA5}">
                      <a16:colId xmlns:a16="http://schemas.microsoft.com/office/drawing/2014/main" val="707442416"/>
                    </a:ext>
                  </a:extLst>
                </a:gridCol>
              </a:tblGrid>
              <a:tr h="237672">
                <a:tc>
                  <a:txBody>
                    <a:bodyPr/>
                    <a:lstStyle/>
                    <a:p>
                      <a:r>
                        <a:rPr lang="en-GB" sz="900" dirty="0">
                          <a:solidFill>
                            <a:schemeClr val="bg1"/>
                          </a:solidFill>
                          <a:latin typeface="Bierstadt" panose="020B0004020202020204" pitchFamily="34" charset="0"/>
                        </a:rPr>
                        <a:t>Metric</a:t>
                      </a:r>
                    </a:p>
                  </a:txBody>
                  <a:tcPr marL="36000" marR="36000"/>
                </a:tc>
                <a:tc>
                  <a:txBody>
                    <a:bodyPr/>
                    <a:lstStyle/>
                    <a:p>
                      <a:pPr algn="ctr"/>
                      <a:r>
                        <a:rPr lang="en-GB" sz="900" dirty="0">
                          <a:solidFill>
                            <a:schemeClr val="bg1"/>
                          </a:solidFill>
                          <a:latin typeface="Bierstadt" panose="020B0004020202020204" pitchFamily="34" charset="0"/>
                        </a:rPr>
                        <a:t>Portfolio</a:t>
                      </a:r>
                    </a:p>
                  </a:txBody>
                  <a:tcPr/>
                </a:tc>
                <a:tc>
                  <a:txBody>
                    <a:bodyPr/>
                    <a:lstStyle/>
                    <a:p>
                      <a:pPr algn="ctr"/>
                      <a:r>
                        <a:rPr lang="en-GB" sz="900" dirty="0">
                          <a:solidFill>
                            <a:schemeClr val="bg1"/>
                          </a:solidFill>
                          <a:latin typeface="Bierstadt" panose="020B0004020202020204" pitchFamily="34" charset="0"/>
                        </a:rPr>
                        <a:t>Benchmark</a:t>
                      </a:r>
                    </a:p>
                  </a:txBody>
                  <a:tcPr/>
                </a:tc>
                <a:extLst>
                  <a:ext uri="{0D108BD9-81ED-4DB2-BD59-A6C34878D82A}">
                    <a16:rowId xmlns:a16="http://schemas.microsoft.com/office/drawing/2014/main" val="3994823784"/>
                  </a:ext>
                </a:extLst>
              </a:tr>
              <a:tr h="323188">
                <a:tc>
                  <a:txBody>
                    <a:bodyPr/>
                    <a:lstStyle/>
                    <a:p>
                      <a:r>
                        <a:rPr lang="en-GB" sz="900" dirty="0">
                          <a:solidFill>
                            <a:schemeClr val="bg1"/>
                          </a:solidFill>
                          <a:latin typeface="Bierstadt" panose="020B0004020202020204" pitchFamily="34" charset="0"/>
                        </a:rPr>
                        <a:t>Mean monthly return</a:t>
                      </a:r>
                    </a:p>
                  </a:txBody>
                  <a:tcPr marL="36000" marR="36000" anchor="ctr"/>
                </a:tc>
                <a:tc>
                  <a:txBody>
                    <a:bodyPr/>
                    <a:lstStyle/>
                    <a:p>
                      <a:pPr algn="ctr"/>
                      <a:r>
                        <a:rPr lang="en-GB" sz="900" dirty="0">
                          <a:solidFill>
                            <a:schemeClr val="bg1"/>
                          </a:solidFill>
                          <a:latin typeface="Bierstadt" panose="020B0004020202020204" pitchFamily="34" charset="0"/>
                        </a:rPr>
                        <a:t>0.88%</a:t>
                      </a:r>
                    </a:p>
                  </a:txBody>
                  <a:tcPr anchor="ctr"/>
                </a:tc>
                <a:tc>
                  <a:txBody>
                    <a:bodyPr/>
                    <a:lstStyle/>
                    <a:p>
                      <a:pPr algn="ctr"/>
                      <a:r>
                        <a:rPr lang="en-GB" sz="900" dirty="0">
                          <a:solidFill>
                            <a:schemeClr val="bg1"/>
                          </a:solidFill>
                          <a:latin typeface="Bierstadt" panose="020B0004020202020204" pitchFamily="34" charset="0"/>
                        </a:rPr>
                        <a:t>0.80%</a:t>
                      </a:r>
                    </a:p>
                  </a:txBody>
                  <a:tcPr anchor="ctr"/>
                </a:tc>
                <a:extLst>
                  <a:ext uri="{0D108BD9-81ED-4DB2-BD59-A6C34878D82A}">
                    <a16:rowId xmlns:a16="http://schemas.microsoft.com/office/drawing/2014/main" val="3917662697"/>
                  </a:ext>
                </a:extLst>
              </a:tr>
              <a:tr h="237672">
                <a:tc>
                  <a:txBody>
                    <a:bodyPr/>
                    <a:lstStyle/>
                    <a:p>
                      <a:r>
                        <a:rPr lang="en-GB" sz="900" dirty="0">
                          <a:solidFill>
                            <a:schemeClr val="bg1"/>
                          </a:solidFill>
                          <a:latin typeface="Bierstadt" panose="020B0004020202020204" pitchFamily="34" charset="0"/>
                        </a:rPr>
                        <a:t>Std Dev (Monthly)</a:t>
                      </a:r>
                    </a:p>
                  </a:txBody>
                  <a:tcPr marL="36000" marR="36000" anchor="ctr"/>
                </a:tc>
                <a:tc>
                  <a:txBody>
                    <a:bodyPr/>
                    <a:lstStyle/>
                    <a:p>
                      <a:pPr algn="ctr"/>
                      <a:r>
                        <a:rPr lang="en-GB" sz="900" dirty="0">
                          <a:solidFill>
                            <a:schemeClr val="bg1"/>
                          </a:solidFill>
                          <a:latin typeface="Bierstadt" panose="020B0004020202020204" pitchFamily="34" charset="0"/>
                        </a:rPr>
                        <a:t>5.57%</a:t>
                      </a:r>
                    </a:p>
                  </a:txBody>
                  <a:tcPr anchor="ctr"/>
                </a:tc>
                <a:tc>
                  <a:txBody>
                    <a:bodyPr/>
                    <a:lstStyle/>
                    <a:p>
                      <a:pPr algn="ctr"/>
                      <a:r>
                        <a:rPr lang="en-GB" sz="900" dirty="0">
                          <a:solidFill>
                            <a:schemeClr val="bg1"/>
                          </a:solidFill>
                          <a:latin typeface="Bierstadt" panose="020B0004020202020204" pitchFamily="34" charset="0"/>
                        </a:rPr>
                        <a:t>4.50%</a:t>
                      </a:r>
                    </a:p>
                  </a:txBody>
                  <a:tcPr anchor="ctr"/>
                </a:tc>
                <a:extLst>
                  <a:ext uri="{0D108BD9-81ED-4DB2-BD59-A6C34878D82A}">
                    <a16:rowId xmlns:a16="http://schemas.microsoft.com/office/drawing/2014/main" val="3393200440"/>
                  </a:ext>
                </a:extLst>
              </a:tr>
              <a:tr h="237672">
                <a:tc>
                  <a:txBody>
                    <a:bodyPr/>
                    <a:lstStyle/>
                    <a:p>
                      <a:r>
                        <a:rPr lang="en-GB" sz="900" b="1" dirty="0">
                          <a:solidFill>
                            <a:schemeClr val="bg1"/>
                          </a:solidFill>
                          <a:latin typeface="Bierstadt" panose="020B0004020202020204" pitchFamily="34" charset="0"/>
                        </a:rPr>
                        <a:t>Annualized Volatility</a:t>
                      </a:r>
                    </a:p>
                  </a:txBody>
                  <a:tcPr marL="36000" marR="36000" anchor="ctr"/>
                </a:tc>
                <a:tc>
                  <a:txBody>
                    <a:bodyPr/>
                    <a:lstStyle/>
                    <a:p>
                      <a:pPr algn="ctr"/>
                      <a:r>
                        <a:rPr lang="en-GB" sz="900" b="1" dirty="0">
                          <a:solidFill>
                            <a:schemeClr val="bg1"/>
                          </a:solidFill>
                          <a:latin typeface="Bierstadt" panose="020B0004020202020204" pitchFamily="34" charset="0"/>
                        </a:rPr>
                        <a:t>19.30%</a:t>
                      </a:r>
                    </a:p>
                  </a:txBody>
                  <a:tcPr anchor="ctr"/>
                </a:tc>
                <a:tc>
                  <a:txBody>
                    <a:bodyPr/>
                    <a:lstStyle/>
                    <a:p>
                      <a:pPr algn="ctr"/>
                      <a:r>
                        <a:rPr lang="en-GB" sz="900" b="1" dirty="0">
                          <a:solidFill>
                            <a:schemeClr val="bg1"/>
                          </a:solidFill>
                          <a:latin typeface="Bierstadt" panose="020B0004020202020204" pitchFamily="34" charset="0"/>
                        </a:rPr>
                        <a:t>15.58%</a:t>
                      </a:r>
                    </a:p>
                  </a:txBody>
                  <a:tcPr anchor="ctr"/>
                </a:tc>
                <a:extLst>
                  <a:ext uri="{0D108BD9-81ED-4DB2-BD59-A6C34878D82A}">
                    <a16:rowId xmlns:a16="http://schemas.microsoft.com/office/drawing/2014/main" val="1147317178"/>
                  </a:ext>
                </a:extLst>
              </a:tr>
              <a:tr h="0">
                <a:tc>
                  <a:txBody>
                    <a:bodyPr/>
                    <a:lstStyle/>
                    <a:p>
                      <a:r>
                        <a:rPr lang="en-GB" sz="900" b="0" dirty="0">
                          <a:solidFill>
                            <a:schemeClr val="bg1"/>
                          </a:solidFill>
                          <a:latin typeface="Bierstadt" panose="020B0004020202020204" pitchFamily="34" charset="0"/>
                        </a:rPr>
                        <a:t>Sharpe ratio</a:t>
                      </a:r>
                    </a:p>
                  </a:txBody>
                  <a:tcPr marL="36000" marR="36000" anchor="ctr"/>
                </a:tc>
                <a:tc>
                  <a:txBody>
                    <a:bodyPr/>
                    <a:lstStyle/>
                    <a:p>
                      <a:pPr algn="ctr"/>
                      <a:r>
                        <a:rPr lang="en-GB" sz="900" b="0" dirty="0">
                          <a:solidFill>
                            <a:schemeClr val="bg1"/>
                          </a:solidFill>
                          <a:latin typeface="Bierstadt" panose="020B0004020202020204" pitchFamily="34" charset="0"/>
                        </a:rPr>
                        <a:t>0.47</a:t>
                      </a:r>
                    </a:p>
                  </a:txBody>
                  <a:tcPr anchor="ctr"/>
                </a:tc>
                <a:tc>
                  <a:txBody>
                    <a:bodyPr/>
                    <a:lstStyle/>
                    <a:p>
                      <a:pPr algn="ctr"/>
                      <a:r>
                        <a:rPr lang="en-GB" sz="900" b="0" dirty="0">
                          <a:solidFill>
                            <a:schemeClr val="bg1"/>
                          </a:solidFill>
                          <a:latin typeface="Bierstadt" panose="020B0004020202020204" pitchFamily="34" charset="0"/>
                        </a:rPr>
                        <a:t>0.57</a:t>
                      </a:r>
                    </a:p>
                  </a:txBody>
                  <a:tcPr anchor="ctr"/>
                </a:tc>
                <a:extLst>
                  <a:ext uri="{0D108BD9-81ED-4DB2-BD59-A6C34878D82A}">
                    <a16:rowId xmlns:a16="http://schemas.microsoft.com/office/drawing/2014/main" val="802987148"/>
                  </a:ext>
                </a:extLst>
              </a:tr>
            </a:tbl>
          </a:graphicData>
        </a:graphic>
      </p:graphicFrame>
      <p:grpSp>
        <p:nvGrpSpPr>
          <p:cNvPr id="7" name="Group 6">
            <a:extLst>
              <a:ext uri="{FF2B5EF4-FFF2-40B4-BE49-F238E27FC236}">
                <a16:creationId xmlns:a16="http://schemas.microsoft.com/office/drawing/2014/main" id="{10A7D411-409F-A063-D278-8929DD099352}"/>
              </a:ext>
            </a:extLst>
          </p:cNvPr>
          <p:cNvGrpSpPr/>
          <p:nvPr/>
        </p:nvGrpSpPr>
        <p:grpSpPr>
          <a:xfrm>
            <a:off x="3483000" y="3162351"/>
            <a:ext cx="3082392" cy="232459"/>
            <a:chOff x="292608" y="1013780"/>
            <a:chExt cx="3082392" cy="232459"/>
          </a:xfrm>
        </p:grpSpPr>
        <p:cxnSp>
          <p:nvCxnSpPr>
            <p:cNvPr id="8" name="Straight Connector 7">
              <a:extLst>
                <a:ext uri="{FF2B5EF4-FFF2-40B4-BE49-F238E27FC236}">
                  <a16:creationId xmlns:a16="http://schemas.microsoft.com/office/drawing/2014/main" id="{612F75D1-B1E7-FD43-4229-5B177B8433AA}"/>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CFCFE3C-E54F-00D4-0602-B5506729367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Top 5 holdings</a:t>
              </a:r>
              <a:endParaRPr lang="en-GB" sz="1000" b="1" dirty="0">
                <a:solidFill>
                  <a:schemeClr val="bg1"/>
                </a:solidFill>
                <a:latin typeface="Bierstadt"/>
              </a:endParaRPr>
            </a:p>
          </p:txBody>
        </p:sp>
      </p:grpSp>
      <p:graphicFrame>
        <p:nvGraphicFramePr>
          <p:cNvPr id="16" name="CHART_PERF_LINE">
            <a:extLst>
              <a:ext uri="{FF2B5EF4-FFF2-40B4-BE49-F238E27FC236}">
                <a16:creationId xmlns:a16="http://schemas.microsoft.com/office/drawing/2014/main" id="{E4A34720-26F5-61E7-9AE8-9FBD771B264F}"/>
              </a:ext>
            </a:extLst>
          </p:cNvPr>
          <p:cNvGraphicFramePr>
            <a:graphicFrameLocks/>
          </p:cNvGraphicFramePr>
          <p:nvPr>
            <p:extLst>
              <p:ext uri="{D42A27DB-BD31-4B8C-83A1-F6EECF244321}">
                <p14:modId xmlns:p14="http://schemas.microsoft.com/office/powerpoint/2010/main" val="3645003504"/>
              </p:ext>
            </p:extLst>
          </p:nvPr>
        </p:nvGraphicFramePr>
        <p:xfrm>
          <a:off x="292608" y="4298812"/>
          <a:ext cx="3082392" cy="2446545"/>
        </p:xfrm>
        <a:graphic>
          <a:graphicData uri="http://schemas.openxmlformats.org/drawingml/2006/chart">
            <c:chart xmlns:c="http://schemas.openxmlformats.org/drawingml/2006/chart" xmlns:r="http://schemas.openxmlformats.org/officeDocument/2006/relationships" r:id="rId23"/>
          </a:graphicData>
        </a:graphic>
      </p:graphicFrame>
      <p:sp>
        <p:nvSpPr>
          <p:cNvPr id="14" name="RET_SINCE_INCEPT">
            <a:extLst>
              <a:ext uri="{FF2B5EF4-FFF2-40B4-BE49-F238E27FC236}">
                <a16:creationId xmlns:a16="http://schemas.microsoft.com/office/drawing/2014/main" id="{1680B882-72BD-71AE-6730-B8ECD1E99FA0}"/>
              </a:ext>
            </a:extLst>
          </p:cNvPr>
          <p:cNvSpPr/>
          <p:nvPr/>
        </p:nvSpPr>
        <p:spPr>
          <a:xfrm>
            <a:off x="364607"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42.39%</a:t>
            </a:r>
            <a:br>
              <a:rPr lang="en-GB" sz="1000" b="1" dirty="0">
                <a:solidFill>
                  <a:schemeClr val="bg1"/>
                </a:solidFill>
              </a:rPr>
            </a:br>
            <a:endParaRPr lang="en-GB" sz="1000" b="1" dirty="0">
              <a:solidFill>
                <a:schemeClr val="bg1"/>
              </a:solidFill>
            </a:endParaRPr>
          </a:p>
        </p:txBody>
      </p:sp>
      <p:sp>
        <p:nvSpPr>
          <p:cNvPr id="15" name="YTD_RETURN_USD">
            <a:extLst>
              <a:ext uri="{FF2B5EF4-FFF2-40B4-BE49-F238E27FC236}">
                <a16:creationId xmlns:a16="http://schemas.microsoft.com/office/drawing/2014/main" id="{392C4E61-6CE6-4980-5659-C6652696343C}"/>
              </a:ext>
            </a:extLst>
          </p:cNvPr>
          <p:cNvSpPr/>
          <p:nvPr/>
        </p:nvSpPr>
        <p:spPr>
          <a:xfrm>
            <a:off x="1368071"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16.65%</a:t>
            </a:r>
            <a:endParaRPr lang="en-GB" sz="1000" b="1" dirty="0">
              <a:solidFill>
                <a:schemeClr val="bg1"/>
              </a:solidFill>
            </a:endParaRPr>
          </a:p>
        </p:txBody>
      </p:sp>
      <p:sp>
        <p:nvSpPr>
          <p:cNvPr id="17" name="AVG_Y_COMP_RET_SINCE_INCEPT">
            <a:extLst>
              <a:ext uri="{FF2B5EF4-FFF2-40B4-BE49-F238E27FC236}">
                <a16:creationId xmlns:a16="http://schemas.microsoft.com/office/drawing/2014/main" id="{3B7398A2-22FB-9185-21DD-EABB29FA203D}"/>
              </a:ext>
            </a:extLst>
          </p:cNvPr>
          <p:cNvSpPr/>
          <p:nvPr/>
        </p:nvSpPr>
        <p:spPr>
          <a:xfrm>
            <a:off x="2371535"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9.06%</a:t>
            </a:r>
            <a:endParaRPr lang="en-GB" sz="1000" b="1" dirty="0">
              <a:solidFill>
                <a:schemeClr val="bg1"/>
              </a:solidFill>
            </a:endParaRPr>
          </a:p>
        </p:txBody>
      </p:sp>
    </p:spTree>
    <p:extLst>
      <p:ext uri="{BB962C8B-B14F-4D97-AF65-F5344CB8AC3E}">
        <p14:creationId xmlns:p14="http://schemas.microsoft.com/office/powerpoint/2010/main" val="1086331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8F08F-1CCE-FF7E-0781-148612BCC4E5}"/>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2779A11D-480E-334A-262D-11CDEC753E12}"/>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FFBF8C92-1768-16F6-C6A4-7E343B895641}"/>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3AA0F09E-8CD5-6807-79D1-A66E897C7BBD}"/>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EAE14FC9-B929-8BEE-D671-582E36D9BA34}"/>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grpSp>
        <p:nvGrpSpPr>
          <p:cNvPr id="1031" name="Group 1030">
            <a:extLst>
              <a:ext uri="{FF2B5EF4-FFF2-40B4-BE49-F238E27FC236}">
                <a16:creationId xmlns:a16="http://schemas.microsoft.com/office/drawing/2014/main" id="{3D7D9478-AA93-8084-8BED-8FB551C77090}"/>
              </a:ext>
            </a:extLst>
          </p:cNvPr>
          <p:cNvGrpSpPr/>
          <p:nvPr/>
        </p:nvGrpSpPr>
        <p:grpSpPr>
          <a:xfrm>
            <a:off x="292608" y="348002"/>
            <a:ext cx="4364736" cy="502385"/>
            <a:chOff x="292608" y="157085"/>
            <a:chExt cx="4364736" cy="502385"/>
          </a:xfrm>
        </p:grpSpPr>
        <p:sp>
          <p:nvSpPr>
            <p:cNvPr id="61" name="TextBox 60">
              <a:extLst>
                <a:ext uri="{FF2B5EF4-FFF2-40B4-BE49-F238E27FC236}">
                  <a16:creationId xmlns:a16="http://schemas.microsoft.com/office/drawing/2014/main" id="{3E360A5B-C17E-37B0-5EF4-39C71FE4AF1A}"/>
                </a:ext>
              </a:extLst>
            </p:cNvPr>
            <p:cNvSpPr txBox="1"/>
            <p:nvPr/>
          </p:nvSpPr>
          <p:spPr>
            <a:xfrm>
              <a:off x="292608" y="157085"/>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_2">
              <a:extLst>
                <a:ext uri="{FF2B5EF4-FFF2-40B4-BE49-F238E27FC236}">
                  <a16:creationId xmlns:a16="http://schemas.microsoft.com/office/drawing/2014/main" id="{51F57ADC-A945-6C43-7EA4-C14722602195}"/>
                </a:ext>
              </a:extLst>
            </p:cNvPr>
            <p:cNvSpPr txBox="1"/>
            <p:nvPr/>
          </p:nvSpPr>
          <p:spPr>
            <a:xfrm>
              <a:off x="292608" y="397860"/>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Sheet|Issued 30 October 2025</a:t>
              </a:r>
              <a:r>
                <a:rPr kumimoji="0" lang="en-US" sz="1100" b="0" i="0" u="none" strike="noStrike" kern="1200" cap="none" spc="0" normalizeH="0" baseline="0" noProof="0" dirty="0" err="1">
                  <a:ln>
                    <a:noFill/>
                  </a:ln>
                  <a:solidFill>
                    <a:prstClr val="white"/>
                  </a:solidFill>
                  <a:effectLst/>
                  <a:uLnTx/>
                  <a:uFillTx/>
                  <a:latin typeface="+mj-lt"/>
                </a:rPr>
                <a:t/>
              </a:r>
              <a:r>
                <a:rPr kumimoji="0" lang="en-US" sz="1100" b="0" i="0" u="none" strike="noStrike" kern="1200" cap="none" spc="0" normalizeH="0" baseline="0" noProof="0" dirty="0">
                  <a:ln>
                    <a:noFill/>
                  </a:ln>
                  <a:solidFill>
                    <a:prstClr val="white"/>
                  </a:solidFill>
                  <a:effectLst/>
                  <a:uLnTx/>
                  <a:uFillTx/>
                  <a:latin typeface="+mj-lt"/>
                </a:rPr>
                <a:t/>
              </a:r>
              <a:r>
                <a:rPr lang="en-US" sz="1100" dirty="0">
                  <a:solidFill>
                    <a:prstClr val="white"/>
                  </a:solidFill>
                  <a:latin typeface="+mj-lt"/>
                </a:rPr>
                <a:t/>
              </a:r>
              <a:r>
                <a:rPr kumimoji="0" lang="en-US" sz="1100" b="0" i="0" u="none" strike="noStrike" kern="1200" cap="none" spc="0" normalizeH="0" baseline="0" noProof="0" dirty="0">
                  <a:ln>
                    <a:noFill/>
                  </a:ln>
                  <a:solidFill>
                    <a:prstClr val="white"/>
                  </a:solidFill>
                  <a:effectLst/>
                  <a:uLnTx/>
                  <a:uFillTx/>
                  <a:latin typeface="+mj-lt"/>
                </a:rPr>
                <a:t/>
              </a:r>
            </a:p>
          </p:txBody>
        </p:sp>
      </p:grpSp>
      <p:grpSp>
        <p:nvGrpSpPr>
          <p:cNvPr id="1028" name="Group 1027">
            <a:extLst>
              <a:ext uri="{FF2B5EF4-FFF2-40B4-BE49-F238E27FC236}">
                <a16:creationId xmlns:a16="http://schemas.microsoft.com/office/drawing/2014/main" id="{3DD59AF6-2EB5-BBDC-1946-56CB294B3107}"/>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B97B2B1B-BA91-F37A-E742-A01AA6A6DC42}"/>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2980813D-CD81-C5D4-8BD2-291F366C9C8D}"/>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D4E92CE4-9E2D-8959-0803-502A3BE40143}"/>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45A9599C-17B7-D351-6F19-AC0975E58EF8}"/>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66535381-6AAA-A590-D2C9-0F970FA09C0E}"/>
              </a:ext>
            </a:extLst>
          </p:cNvPr>
          <p:cNvSpPr/>
          <p:nvPr/>
        </p:nvSpPr>
        <p:spPr>
          <a:xfrm>
            <a:off x="292608"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47D763D0-6FAD-8EE8-5747-014CE2FE63D1}"/>
              </a:ext>
            </a:extLst>
          </p:cNvPr>
          <p:cNvSpPr/>
          <p:nvPr/>
        </p:nvSpPr>
        <p:spPr>
          <a:xfrm>
            <a:off x="292608" y="8054295"/>
            <a:ext cx="6272784" cy="157128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240151D1-83A6-A968-8252-EFE1718B8892}"/>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2</a:t>
            </a:r>
            <a:endParaRPr lang="en-GB" sz="1200" dirty="0">
              <a:solidFill>
                <a:schemeClr val="bg1"/>
              </a:solidFill>
            </a:endParaRPr>
          </a:p>
        </p:txBody>
      </p:sp>
      <p:sp>
        <p:nvSpPr>
          <p:cNvPr id="1048" name="Rectangle 1047">
            <a:extLst>
              <a:ext uri="{FF2B5EF4-FFF2-40B4-BE49-F238E27FC236}">
                <a16:creationId xmlns:a16="http://schemas.microsoft.com/office/drawing/2014/main" id="{5E3C658C-B662-59DF-3EA8-7451A48DEC92}"/>
              </a:ext>
            </a:extLst>
          </p:cNvPr>
          <p:cNvSpPr/>
          <p:nvPr/>
        </p:nvSpPr>
        <p:spPr>
          <a:xfrm>
            <a:off x="3483000"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CFF97540-2FAA-CB80-9EE6-18FC939AD2A7}"/>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2AA1BD25-3799-3F95-0DE9-9F59A9A36D0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7DE8908D-2D00-1C15-18BA-CBC986C795F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Distribution per sector</a:t>
              </a:r>
              <a:endParaRPr lang="en-GB" sz="1000" b="1" dirty="0">
                <a:solidFill>
                  <a:schemeClr val="bg1"/>
                </a:solidFill>
                <a:latin typeface="Bierstadt"/>
              </a:endParaRPr>
            </a:p>
          </p:txBody>
        </p:sp>
      </p:grpSp>
      <p:grpSp>
        <p:nvGrpSpPr>
          <p:cNvPr id="1117" name="Group 1116">
            <a:extLst>
              <a:ext uri="{FF2B5EF4-FFF2-40B4-BE49-F238E27FC236}">
                <a16:creationId xmlns:a16="http://schemas.microsoft.com/office/drawing/2014/main" id="{B2136F99-9273-3C06-2EAB-3252A341E5A3}"/>
              </a:ext>
            </a:extLst>
          </p:cNvPr>
          <p:cNvGrpSpPr/>
          <p:nvPr/>
        </p:nvGrpSpPr>
        <p:grpSpPr>
          <a:xfrm>
            <a:off x="3483000" y="1013780"/>
            <a:ext cx="3082392" cy="232459"/>
            <a:chOff x="292608" y="1013780"/>
            <a:chExt cx="3082392" cy="232459"/>
          </a:xfrm>
        </p:grpSpPr>
        <p:cxnSp>
          <p:nvCxnSpPr>
            <p:cNvPr id="1118" name="Straight Connector 1117">
              <a:extLst>
                <a:ext uri="{FF2B5EF4-FFF2-40B4-BE49-F238E27FC236}">
                  <a16:creationId xmlns:a16="http://schemas.microsoft.com/office/drawing/2014/main" id="{417D1884-0E28-3C02-8058-8055782D66C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C94E1CCC-1EB6-B73E-CDC7-DAD9477FC9F7}"/>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Distrubution per region</a:t>
              </a:r>
              <a:endParaRPr lang="en-GB" sz="1000" b="1" dirty="0">
                <a:solidFill>
                  <a:schemeClr val="bg1"/>
                </a:solidFill>
                <a:latin typeface="Bierstadt"/>
              </a:endParaRPr>
            </a:p>
          </p:txBody>
        </p:sp>
      </p:grpSp>
      <p:grpSp>
        <p:nvGrpSpPr>
          <p:cNvPr id="4" name="Group 3">
            <a:extLst>
              <a:ext uri="{FF2B5EF4-FFF2-40B4-BE49-F238E27FC236}">
                <a16:creationId xmlns:a16="http://schemas.microsoft.com/office/drawing/2014/main" id="{AB4B8C69-4066-D9CE-BBBE-2CCB91AE5ED8}"/>
              </a:ext>
            </a:extLst>
          </p:cNvPr>
          <p:cNvGrpSpPr/>
          <p:nvPr/>
        </p:nvGrpSpPr>
        <p:grpSpPr>
          <a:xfrm>
            <a:off x="292608" y="8054295"/>
            <a:ext cx="6272784" cy="232459"/>
            <a:chOff x="292608" y="6853356"/>
            <a:chExt cx="6272784" cy="232459"/>
          </a:xfrm>
        </p:grpSpPr>
        <p:sp>
          <p:nvSpPr>
            <p:cNvPr id="2" name="Rectangle 1">
              <a:extLst>
                <a:ext uri="{FF2B5EF4-FFF2-40B4-BE49-F238E27FC236}">
                  <a16:creationId xmlns:a16="http://schemas.microsoft.com/office/drawing/2014/main" id="{C3028533-FFA0-8969-1B38-84E8E0A5D661}"/>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Disclaimer</a:t>
              </a:r>
            </a:p>
          </p:txBody>
        </p:sp>
        <p:cxnSp>
          <p:nvCxnSpPr>
            <p:cNvPr id="3" name="Straight Connector 2">
              <a:extLst>
                <a:ext uri="{FF2B5EF4-FFF2-40B4-BE49-F238E27FC236}">
                  <a16:creationId xmlns:a16="http://schemas.microsoft.com/office/drawing/2014/main" id="{D9F15FCC-4748-D4D1-90AA-0B77FBBD60A4}"/>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099FCF1D-8887-3256-ED6F-1006081DF865}"/>
              </a:ext>
            </a:extLst>
          </p:cNvPr>
          <p:cNvSpPr txBox="1"/>
          <p:nvPr/>
        </p:nvSpPr>
        <p:spPr>
          <a:xfrm>
            <a:off x="292608" y="8286755"/>
            <a:ext cx="6272784" cy="1338828"/>
          </a:xfrm>
          <a:prstGeom prst="rect">
            <a:avLst/>
          </a:prstGeom>
          <a:noFill/>
        </p:spPr>
        <p:txBody>
          <a:bodyPr wrap="square" rtlCol="0">
            <a:spAutoFit/>
          </a:bodyPr>
          <a:lstStyle/>
          <a:p>
            <a:pPr algn="just"/>
            <a:r>
              <a:rPr lang="en-US" sz="900" b="0" i="0" u="none" strike="noStrike" baseline="0" dirty="0">
                <a:solidFill>
                  <a:schemeClr val="bg1"/>
                </a:solidFill>
                <a:latin typeface="Bierstadt" panose="020B0004020202020204" pitchFamily="34" charset="0"/>
                <a:cs typeface="Helvetica" panose="020B0604020202020204" pitchFamily="34" charset="0"/>
              </a:rPr>
              <a:t>This document should not be seen as an offer to purchase any specific product and is not to be construed as advice or guidance in any form whatsoever. Investors are encouraged to obtain independent professional investment and taxation advice before investing with or in any of Kukula’s Asset Management products. Kukula Capital reserves the right to close the portfolio to new investors and reopen certain portfolios</a:t>
            </a:r>
            <a:r>
              <a:rPr lang="en-US" sz="900" dirty="0">
                <a:solidFill>
                  <a:schemeClr val="bg1"/>
                </a:solidFill>
                <a:latin typeface="Bierstadt" panose="020B0004020202020204" pitchFamily="34" charset="0"/>
                <a:cs typeface="Helvetica" panose="020B0604020202020204" pitchFamily="34" charset="0"/>
              </a:rPr>
              <a:t> </a:t>
            </a:r>
            <a:r>
              <a:rPr lang="en-US" sz="900" b="0" i="0" u="none" strike="noStrike" baseline="0" dirty="0">
                <a:solidFill>
                  <a:schemeClr val="bg1"/>
                </a:solidFill>
                <a:latin typeface="Bierstadt" panose="020B0004020202020204" pitchFamily="34" charset="0"/>
                <a:cs typeface="Helvetica" panose="020B0604020202020204" pitchFamily="34" charset="0"/>
              </a:rPr>
              <a:t>from time to time in order to manage them more efficiently. Investments in foreign securities may include additional risks such as potential constraints on liquidity and repatriation </a:t>
            </a:r>
            <a:r>
              <a:rPr lang="en-ZA" sz="900" b="0" i="0" u="none" strike="noStrike" baseline="0" dirty="0">
                <a:solidFill>
                  <a:schemeClr val="bg1"/>
                </a:solidFill>
                <a:latin typeface="Bierstadt" panose="020B0004020202020204" pitchFamily="34" charset="0"/>
                <a:cs typeface="Helvetica" panose="020B0604020202020204" pitchFamily="34" charset="0"/>
              </a:rPr>
              <a:t>of funds, macroeconomic risk, political risk, foreign exchange risk, tax risk, settlement risk as well as potential limitations on the availability of market information. </a:t>
            </a:r>
            <a:r>
              <a:rPr lang="en-US" sz="900" b="0" i="0" u="none" strike="noStrike" baseline="0" dirty="0">
                <a:solidFill>
                  <a:schemeClr val="bg1"/>
                </a:solidFill>
                <a:latin typeface="Bierstadt" panose="020B0004020202020204" pitchFamily="34" charset="0"/>
                <a:cs typeface="Helvetica" panose="020B0604020202020204" pitchFamily="34" charset="0"/>
              </a:rPr>
              <a:t>Past performance is not an indication of future performance. </a:t>
            </a:r>
          </a:p>
          <a:p>
            <a:pPr algn="just"/>
            <a:endParaRPr lang="en-US" sz="900" dirty="0">
              <a:solidFill>
                <a:schemeClr val="bg1"/>
              </a:solidFill>
              <a:latin typeface="Bierstadt" panose="020B0004020202020204" pitchFamily="34" charset="0"/>
              <a:cs typeface="Helvetica" panose="020B0604020202020204" pitchFamily="34" charset="0"/>
            </a:endParaRPr>
          </a:p>
          <a:p>
            <a:pPr algn="just"/>
            <a:r>
              <a:rPr lang="en-US" sz="900" dirty="0">
                <a:solidFill>
                  <a:schemeClr val="bg1"/>
                </a:solidFill>
                <a:latin typeface="Bierstadt" panose="020B0004020202020204" pitchFamily="34" charset="0"/>
                <a:cs typeface="Helvetica" panose="020B0604020202020204" pitchFamily="34" charset="0"/>
              </a:rPr>
              <a:t>Kukula Capital is a Fund Manager regulated by the Securities and Exchange Commission of Zambia </a:t>
            </a:r>
          </a:p>
        </p:txBody>
      </p:sp>
      <p:grpSp>
        <p:nvGrpSpPr>
          <p:cNvPr id="12" name="Group 11">
            <a:extLst>
              <a:ext uri="{FF2B5EF4-FFF2-40B4-BE49-F238E27FC236}">
                <a16:creationId xmlns:a16="http://schemas.microsoft.com/office/drawing/2014/main" id="{EA26CCA3-2673-1AFB-06B3-C4434358EFD0}"/>
              </a:ext>
            </a:extLst>
          </p:cNvPr>
          <p:cNvGrpSpPr/>
          <p:nvPr/>
        </p:nvGrpSpPr>
        <p:grpSpPr>
          <a:xfrm>
            <a:off x="2393997" y="2543287"/>
            <a:ext cx="735748" cy="325575"/>
            <a:chOff x="2387480" y="2325829"/>
            <a:chExt cx="890255" cy="393946"/>
          </a:xfrm>
        </p:grpSpPr>
        <p:sp>
          <p:nvSpPr>
            <p:cNvPr id="10" name="Rectangle 9">
              <a:extLst>
                <a:ext uri="{FF2B5EF4-FFF2-40B4-BE49-F238E27FC236}">
                  <a16:creationId xmlns:a16="http://schemas.microsoft.com/office/drawing/2014/main" id="{2AE094CA-474D-B279-5ED1-A5109E8B9776}"/>
                </a:ext>
              </a:extLst>
            </p:cNvPr>
            <p:cNvSpPr/>
            <p:nvPr/>
          </p:nvSpPr>
          <p:spPr>
            <a:xfrm>
              <a:off x="2387480" y="2549361"/>
              <a:ext cx="890255" cy="170414"/>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echnology</a:t>
              </a:r>
              <a:endParaRPr lang="en-GB" sz="600" dirty="0">
                <a:solidFill>
                  <a:schemeClr val="bg1"/>
                </a:solidFill>
                <a:latin typeface="Bierstadt" panose="020B0004020202020204" pitchFamily="34" charset="0"/>
              </a:endParaRPr>
            </a:p>
          </p:txBody>
        </p:sp>
        <p:pic>
          <p:nvPicPr>
            <p:cNvPr id="11" name="Graphic 10">
              <a:extLst>
                <a:ext uri="{FF2B5EF4-FFF2-40B4-BE49-F238E27FC236}">
                  <a16:creationId xmlns:a16="http://schemas.microsoft.com/office/drawing/2014/main" id="{013EC465-3A3D-5632-C448-047BF928C02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720841" y="2325829"/>
              <a:ext cx="223532" cy="223532"/>
            </a:xfrm>
            <a:prstGeom prst="rect">
              <a:avLst/>
            </a:prstGeom>
          </p:spPr>
        </p:pic>
      </p:grpSp>
      <p:sp>
        <p:nvSpPr>
          <p:cNvPr id="14" name="Rectangle 13">
            <a:extLst>
              <a:ext uri="{FF2B5EF4-FFF2-40B4-BE49-F238E27FC236}">
                <a16:creationId xmlns:a16="http://schemas.microsoft.com/office/drawing/2014/main" id="{C83E3CF8-292A-D39F-1EEA-8C791AEB34B6}"/>
              </a:ext>
            </a:extLst>
          </p:cNvPr>
          <p:cNvSpPr/>
          <p:nvPr/>
        </p:nvSpPr>
        <p:spPr>
          <a:xfrm>
            <a:off x="1008626" y="3476575"/>
            <a:ext cx="80031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staples</a:t>
            </a:r>
            <a:endParaRPr lang="en-GB" sz="600" dirty="0">
              <a:solidFill>
                <a:schemeClr val="bg1"/>
              </a:solidFill>
              <a:latin typeface="Bierstadt" panose="020B0004020202020204" pitchFamily="34" charset="0"/>
            </a:endParaRPr>
          </a:p>
        </p:txBody>
      </p:sp>
      <p:pic>
        <p:nvPicPr>
          <p:cNvPr id="40" name="Graphic 39">
            <a:extLst>
              <a:ext uri="{FF2B5EF4-FFF2-40B4-BE49-F238E27FC236}">
                <a16:creationId xmlns:a16="http://schemas.microsoft.com/office/drawing/2014/main" id="{1A099470-3542-E97C-417C-3C9AA76149FA}"/>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1316417" y="3291837"/>
            <a:ext cx="184737" cy="184737"/>
          </a:xfrm>
          <a:prstGeom prst="rect">
            <a:avLst/>
          </a:prstGeom>
        </p:spPr>
      </p:pic>
      <p:sp>
        <p:nvSpPr>
          <p:cNvPr id="17" name="Rectangle 16">
            <a:extLst>
              <a:ext uri="{FF2B5EF4-FFF2-40B4-BE49-F238E27FC236}">
                <a16:creationId xmlns:a16="http://schemas.microsoft.com/office/drawing/2014/main" id="{72EC8E88-2904-9494-D729-847B8159229B}"/>
              </a:ext>
            </a:extLst>
          </p:cNvPr>
          <p:cNvSpPr/>
          <p:nvPr/>
        </p:nvSpPr>
        <p:spPr>
          <a:xfrm>
            <a:off x="353099" y="270003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Materials</a:t>
            </a:r>
            <a:endParaRPr lang="en-GB" sz="600" dirty="0">
              <a:solidFill>
                <a:schemeClr val="bg1"/>
              </a:solidFill>
              <a:latin typeface="Bierstadt" panose="020B0004020202020204" pitchFamily="34" charset="0"/>
            </a:endParaRPr>
          </a:p>
        </p:txBody>
      </p:sp>
      <p:pic>
        <p:nvPicPr>
          <p:cNvPr id="41" name="Graphic 40">
            <a:extLst>
              <a:ext uri="{FF2B5EF4-FFF2-40B4-BE49-F238E27FC236}">
                <a16:creationId xmlns:a16="http://schemas.microsoft.com/office/drawing/2014/main" id="{39234BC4-F8AD-3BFC-BEA9-9A918A0E608B}"/>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628604" y="2515293"/>
            <a:ext cx="184737" cy="184737"/>
          </a:xfrm>
          <a:prstGeom prst="rect">
            <a:avLst/>
          </a:prstGeom>
        </p:spPr>
      </p:pic>
      <p:grpSp>
        <p:nvGrpSpPr>
          <p:cNvPr id="43" name="Group 42">
            <a:extLst>
              <a:ext uri="{FF2B5EF4-FFF2-40B4-BE49-F238E27FC236}">
                <a16:creationId xmlns:a16="http://schemas.microsoft.com/office/drawing/2014/main" id="{7EF4A4B5-327E-213A-0A92-2A9077E3ECA7}"/>
              </a:ext>
            </a:extLst>
          </p:cNvPr>
          <p:cNvGrpSpPr/>
          <p:nvPr/>
        </p:nvGrpSpPr>
        <p:grpSpPr>
          <a:xfrm>
            <a:off x="314139" y="1934099"/>
            <a:ext cx="735749" cy="325575"/>
            <a:chOff x="405579" y="1934099"/>
            <a:chExt cx="735749" cy="325575"/>
          </a:xfrm>
        </p:grpSpPr>
        <p:sp>
          <p:nvSpPr>
            <p:cNvPr id="20" name="Rectangle 19">
              <a:extLst>
                <a:ext uri="{FF2B5EF4-FFF2-40B4-BE49-F238E27FC236}">
                  <a16:creationId xmlns:a16="http://schemas.microsoft.com/office/drawing/2014/main" id="{C430CF63-0430-AB16-D38F-57BD98609CA3}"/>
                </a:ext>
              </a:extLst>
            </p:cNvPr>
            <p:cNvSpPr/>
            <p:nvPr/>
          </p:nvSpPr>
          <p:spPr>
            <a:xfrm>
              <a:off x="405579" y="2118836"/>
              <a:ext cx="73574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solidFill>
                  <a:latin typeface="Bierstadt" panose="020B0004020202020204" pitchFamily="34" charset="0"/>
                </a:rPr>
                <a:t>Financial services</a:t>
              </a:r>
              <a:endParaRPr lang="en-GB" sz="600" dirty="0">
                <a:solidFill>
                  <a:schemeClr val="bg1"/>
                </a:solidFill>
                <a:latin typeface="Bierstadt" panose="020B0004020202020204" pitchFamily="34" charset="0"/>
              </a:endParaRPr>
            </a:p>
          </p:txBody>
        </p:sp>
        <p:pic>
          <p:nvPicPr>
            <p:cNvPr id="42" name="Graphic 41">
              <a:extLst>
                <a:ext uri="{FF2B5EF4-FFF2-40B4-BE49-F238E27FC236}">
                  <a16:creationId xmlns:a16="http://schemas.microsoft.com/office/drawing/2014/main" id="{0774DE06-6ECB-63EB-ABE7-8520BE1F0C53}"/>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81085" y="1934099"/>
              <a:ext cx="184737" cy="184737"/>
            </a:xfrm>
            <a:prstGeom prst="rect">
              <a:avLst/>
            </a:prstGeom>
          </p:spPr>
        </p:pic>
      </p:grpSp>
      <p:sp>
        <p:nvSpPr>
          <p:cNvPr id="25" name="Rectangle 24">
            <a:extLst>
              <a:ext uri="{FF2B5EF4-FFF2-40B4-BE49-F238E27FC236}">
                <a16:creationId xmlns:a16="http://schemas.microsoft.com/office/drawing/2014/main" id="{220F02E8-61FC-9ABE-2D55-99A17C0C29F7}"/>
              </a:ext>
            </a:extLst>
          </p:cNvPr>
          <p:cNvSpPr/>
          <p:nvPr/>
        </p:nvSpPr>
        <p:spPr>
          <a:xfrm>
            <a:off x="690304" y="1716818"/>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Healthcare</a:t>
            </a:r>
            <a:endParaRPr lang="en-GB" sz="600" dirty="0">
              <a:solidFill>
                <a:schemeClr val="bg1"/>
              </a:solidFill>
              <a:latin typeface="Bierstadt" panose="020B0004020202020204" pitchFamily="34" charset="0"/>
            </a:endParaRPr>
          </a:p>
        </p:txBody>
      </p:sp>
      <p:pic>
        <p:nvPicPr>
          <p:cNvPr id="44" name="Graphic 43">
            <a:extLst>
              <a:ext uri="{FF2B5EF4-FFF2-40B4-BE49-F238E27FC236}">
                <a16:creationId xmlns:a16="http://schemas.microsoft.com/office/drawing/2014/main" id="{C0B4EA05-F62F-5EF7-3AE6-8D70CA2A6DEB}"/>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965809" y="1532081"/>
            <a:ext cx="184737" cy="184737"/>
          </a:xfrm>
          <a:prstGeom prst="rect">
            <a:avLst/>
          </a:prstGeom>
        </p:spPr>
      </p:pic>
      <p:sp>
        <p:nvSpPr>
          <p:cNvPr id="29" name="Rectangle 28">
            <a:extLst>
              <a:ext uri="{FF2B5EF4-FFF2-40B4-BE49-F238E27FC236}">
                <a16:creationId xmlns:a16="http://schemas.microsoft.com/office/drawing/2014/main" id="{E66AF298-75C9-C2BC-ED2A-4C925FD60E1A}"/>
              </a:ext>
            </a:extLst>
          </p:cNvPr>
          <p:cNvSpPr/>
          <p:nvPr/>
        </p:nvSpPr>
        <p:spPr>
          <a:xfrm>
            <a:off x="1040913" y="150957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Utilities</a:t>
            </a:r>
            <a:endParaRPr lang="en-GB" sz="600" dirty="0">
              <a:solidFill>
                <a:schemeClr val="bg1"/>
              </a:solidFill>
              <a:latin typeface="Bierstadt" panose="020B0004020202020204" pitchFamily="34" charset="0"/>
            </a:endParaRPr>
          </a:p>
        </p:txBody>
      </p:sp>
      <p:pic>
        <p:nvPicPr>
          <p:cNvPr id="46" name="Graphic 45">
            <a:extLst>
              <a:ext uri="{FF2B5EF4-FFF2-40B4-BE49-F238E27FC236}">
                <a16:creationId xmlns:a16="http://schemas.microsoft.com/office/drawing/2014/main" id="{4203E42F-EE76-D8C5-2ADD-589AA92D7668}"/>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1316418" y="1324842"/>
            <a:ext cx="184737" cy="184737"/>
          </a:xfrm>
          <a:prstGeom prst="rect">
            <a:avLst/>
          </a:prstGeom>
        </p:spPr>
      </p:pic>
      <p:sp>
        <p:nvSpPr>
          <p:cNvPr id="32" name="Rectangle 31">
            <a:extLst>
              <a:ext uri="{FF2B5EF4-FFF2-40B4-BE49-F238E27FC236}">
                <a16:creationId xmlns:a16="http://schemas.microsoft.com/office/drawing/2014/main" id="{C8B6BF94-46A7-2023-C325-E3D166F5E203}"/>
              </a:ext>
            </a:extLst>
          </p:cNvPr>
          <p:cNvSpPr/>
          <p:nvPr/>
        </p:nvSpPr>
        <p:spPr>
          <a:xfrm>
            <a:off x="1444517" y="147750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47" name="Graphic 46">
            <a:extLst>
              <a:ext uri="{FF2B5EF4-FFF2-40B4-BE49-F238E27FC236}">
                <a16:creationId xmlns:a16="http://schemas.microsoft.com/office/drawing/2014/main" id="{B7CB9195-F8E2-043A-D295-449E46E3EBB9}"/>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1720022" y="1292772"/>
            <a:ext cx="184737" cy="184737"/>
          </a:xfrm>
          <a:prstGeom prst="rect">
            <a:avLst/>
          </a:prstGeom>
        </p:spPr>
      </p:pic>
      <p:sp>
        <p:nvSpPr>
          <p:cNvPr id="35" name="Rectangle 34">
            <a:extLst>
              <a:ext uri="{FF2B5EF4-FFF2-40B4-BE49-F238E27FC236}">
                <a16:creationId xmlns:a16="http://schemas.microsoft.com/office/drawing/2014/main" id="{419AAB4D-B941-7415-902C-E1485893A00D}"/>
              </a:ext>
            </a:extLst>
          </p:cNvPr>
          <p:cNvSpPr/>
          <p:nvPr/>
        </p:nvSpPr>
        <p:spPr>
          <a:xfrm>
            <a:off x="1841231" y="155027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ransportation</a:t>
            </a:r>
            <a:endParaRPr lang="en-GB" sz="600" dirty="0">
              <a:solidFill>
                <a:schemeClr val="bg1"/>
              </a:solidFill>
              <a:latin typeface="Bierstadt" panose="020B0004020202020204" pitchFamily="34" charset="0"/>
            </a:endParaRPr>
          </a:p>
        </p:txBody>
      </p:sp>
      <p:pic>
        <p:nvPicPr>
          <p:cNvPr id="48" name="Graphic 47">
            <a:extLst>
              <a:ext uri="{FF2B5EF4-FFF2-40B4-BE49-F238E27FC236}">
                <a16:creationId xmlns:a16="http://schemas.microsoft.com/office/drawing/2014/main" id="{BDAFF7B7-207D-4703-3CE0-069C0B3A5B25}"/>
              </a:ext>
            </a:extLst>
          </p:cNvPr>
          <p:cNvPicPr>
            <a:picLocks/>
          </p:cNvPicPr>
          <p:nvPr/>
        </p:nvPicPr>
        <p:blipFill>
          <a:blip r:embed="rId28">
            <a:extLst>
              <a:ext uri="{96DAC541-7B7A-43D3-8B79-37D633B846F1}">
                <asvg:svgBlip xmlns:asvg="http://schemas.microsoft.com/office/drawing/2016/SVG/main" r:embed="rId29"/>
              </a:ext>
            </a:extLst>
          </a:blip>
          <a:stretch>
            <a:fillRect/>
          </a:stretch>
        </p:blipFill>
        <p:spPr>
          <a:xfrm>
            <a:off x="2116736" y="1365533"/>
            <a:ext cx="184737" cy="184737"/>
          </a:xfrm>
          <a:prstGeom prst="rect">
            <a:avLst/>
          </a:prstGeom>
        </p:spPr>
      </p:pic>
      <p:sp>
        <p:nvSpPr>
          <p:cNvPr id="38" name="Rectangle 37">
            <a:extLst>
              <a:ext uri="{FF2B5EF4-FFF2-40B4-BE49-F238E27FC236}">
                <a16:creationId xmlns:a16="http://schemas.microsoft.com/office/drawing/2014/main" id="{EA112802-2A42-169C-131E-DBF1F5A1882B}"/>
              </a:ext>
            </a:extLst>
          </p:cNvPr>
          <p:cNvSpPr/>
          <p:nvPr/>
        </p:nvSpPr>
        <p:spPr>
          <a:xfrm>
            <a:off x="2242320" y="1750827"/>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discretionary</a:t>
            </a:r>
            <a:endParaRPr lang="en-GB" sz="600" dirty="0">
              <a:solidFill>
                <a:schemeClr val="bg1"/>
              </a:solidFill>
              <a:latin typeface="Bierstadt" panose="020B0004020202020204" pitchFamily="34" charset="0"/>
            </a:endParaRPr>
          </a:p>
        </p:txBody>
      </p:sp>
      <p:pic>
        <p:nvPicPr>
          <p:cNvPr id="49" name="Graphic 48">
            <a:extLst>
              <a:ext uri="{FF2B5EF4-FFF2-40B4-BE49-F238E27FC236}">
                <a16:creationId xmlns:a16="http://schemas.microsoft.com/office/drawing/2014/main" id="{A8E15041-4912-B3D8-0150-F4D6E30D422C}"/>
              </a:ext>
            </a:extLst>
          </p:cNvPr>
          <p:cNvPicPr>
            <a:picLocks/>
          </p:cNvPicPr>
          <p:nvPr/>
        </p:nvPicPr>
        <p:blipFill>
          <a:blip r:embed="rId30">
            <a:extLst>
              <a:ext uri="{96DAC541-7B7A-43D3-8B79-37D633B846F1}">
                <asvg:svgBlip xmlns:asvg="http://schemas.microsoft.com/office/drawing/2016/SVG/main" r:embed="rId31"/>
              </a:ext>
            </a:extLst>
          </a:blip>
          <a:stretch>
            <a:fillRect/>
          </a:stretch>
        </p:blipFill>
        <p:spPr>
          <a:xfrm>
            <a:off x="2517825" y="1550850"/>
            <a:ext cx="184737" cy="184737"/>
          </a:xfrm>
          <a:prstGeom prst="rect">
            <a:avLst/>
          </a:prstGeom>
        </p:spPr>
      </p:pic>
      <p:sp>
        <p:nvSpPr>
          <p:cNvPr id="55" name="Rectangle 54">
            <a:extLst>
              <a:ext uri="{FF2B5EF4-FFF2-40B4-BE49-F238E27FC236}">
                <a16:creationId xmlns:a16="http://schemas.microsoft.com/office/drawing/2014/main" id="{740F6A28-57EB-1294-4ACF-DC51AE132108}"/>
              </a:ext>
            </a:extLst>
          </p:cNvPr>
          <p:cNvSpPr/>
          <p:nvPr/>
        </p:nvSpPr>
        <p:spPr>
          <a:xfrm>
            <a:off x="5073650" y="1661181"/>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Europe</a:t>
            </a:r>
            <a:endParaRPr lang="en-GB" sz="600" dirty="0">
              <a:solidFill>
                <a:schemeClr val="bg1"/>
              </a:solidFill>
              <a:latin typeface="Bierstadt" panose="020B0004020202020204" pitchFamily="34" charset="0"/>
            </a:endParaRPr>
          </a:p>
        </p:txBody>
      </p:sp>
      <p:pic>
        <p:nvPicPr>
          <p:cNvPr id="57" name="Graphic 56">
            <a:extLst>
              <a:ext uri="{FF2B5EF4-FFF2-40B4-BE49-F238E27FC236}">
                <a16:creationId xmlns:a16="http://schemas.microsoft.com/office/drawing/2014/main" id="{FDDA8EE5-2B07-55E1-BF0F-20D8DDAFFA87}"/>
              </a:ext>
            </a:extLst>
          </p:cNvPr>
          <p:cNvPicPr>
            <a:picLocks/>
          </p:cNvPicPr>
          <p:nvPr/>
        </p:nvPicPr>
        <p:blipFill>
          <a:blip r:embed="rId32">
            <a:extLst>
              <a:ext uri="{96DAC541-7B7A-43D3-8B79-37D633B846F1}">
                <asvg:svgBlip xmlns:asvg="http://schemas.microsoft.com/office/drawing/2016/SVG/main" r:embed="rId33"/>
              </a:ext>
            </a:extLst>
          </a:blip>
          <a:stretch>
            <a:fillRect/>
          </a:stretch>
        </p:blipFill>
        <p:spPr>
          <a:xfrm>
            <a:off x="5349154" y="1476444"/>
            <a:ext cx="184737" cy="184737"/>
          </a:xfrm>
          <a:prstGeom prst="rect">
            <a:avLst/>
          </a:prstGeom>
        </p:spPr>
      </p:pic>
      <p:grpSp>
        <p:nvGrpSpPr>
          <p:cNvPr id="1030" name="Group 1029">
            <a:extLst>
              <a:ext uri="{FF2B5EF4-FFF2-40B4-BE49-F238E27FC236}">
                <a16:creationId xmlns:a16="http://schemas.microsoft.com/office/drawing/2014/main" id="{A8340488-64B7-353C-A4FA-EB2260E5A373}"/>
              </a:ext>
            </a:extLst>
          </p:cNvPr>
          <p:cNvGrpSpPr/>
          <p:nvPr/>
        </p:nvGrpSpPr>
        <p:grpSpPr>
          <a:xfrm>
            <a:off x="5358370" y="3243826"/>
            <a:ext cx="735748" cy="325575"/>
            <a:chOff x="5358370" y="3243826"/>
            <a:chExt cx="735748" cy="325575"/>
          </a:xfrm>
        </p:grpSpPr>
        <p:sp>
          <p:nvSpPr>
            <p:cNvPr id="63" name="Rectangle 62">
              <a:extLst>
                <a:ext uri="{FF2B5EF4-FFF2-40B4-BE49-F238E27FC236}">
                  <a16:creationId xmlns:a16="http://schemas.microsoft.com/office/drawing/2014/main" id="{D482A90D-6D02-1D17-FA7C-5DE0F2E90558}"/>
                </a:ext>
              </a:extLst>
            </p:cNvPr>
            <p:cNvSpPr/>
            <p:nvPr/>
          </p:nvSpPr>
          <p:spPr>
            <a:xfrm>
              <a:off x="5358370" y="3428563"/>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North America</a:t>
              </a:r>
              <a:endParaRPr lang="en-GB" sz="600" dirty="0">
                <a:solidFill>
                  <a:schemeClr val="bg1"/>
                </a:solidFill>
                <a:latin typeface="Bierstadt" panose="020B0004020202020204" pitchFamily="34" charset="0"/>
              </a:endParaRPr>
            </a:p>
          </p:txBody>
        </p:sp>
        <p:pic>
          <p:nvPicPr>
            <p:cNvPr id="1029" name="Graphic 1028">
              <a:extLst>
                <a:ext uri="{FF2B5EF4-FFF2-40B4-BE49-F238E27FC236}">
                  <a16:creationId xmlns:a16="http://schemas.microsoft.com/office/drawing/2014/main" id="{E2B42250-64A3-D359-636C-59A0C70156BE}"/>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5633874" y="3243826"/>
              <a:ext cx="184737" cy="184737"/>
            </a:xfrm>
            <a:prstGeom prst="rect">
              <a:avLst/>
            </a:prstGeom>
          </p:spPr>
        </p:pic>
      </p:grpSp>
      <p:grpSp>
        <p:nvGrpSpPr>
          <p:cNvPr id="1052" name="Group 1051">
            <a:extLst>
              <a:ext uri="{FF2B5EF4-FFF2-40B4-BE49-F238E27FC236}">
                <a16:creationId xmlns:a16="http://schemas.microsoft.com/office/drawing/2014/main" id="{78763AB0-C349-B79C-A03F-AB6515B09F9E}"/>
              </a:ext>
            </a:extLst>
          </p:cNvPr>
          <p:cNvGrpSpPr/>
          <p:nvPr/>
        </p:nvGrpSpPr>
        <p:grpSpPr>
          <a:xfrm>
            <a:off x="3849920" y="1676988"/>
            <a:ext cx="735748" cy="325575"/>
            <a:chOff x="3849920" y="1676988"/>
            <a:chExt cx="735748" cy="325575"/>
          </a:xfrm>
        </p:grpSpPr>
        <p:sp>
          <p:nvSpPr>
            <p:cNvPr id="1040" name="Rectangle 1039">
              <a:extLst>
                <a:ext uri="{FF2B5EF4-FFF2-40B4-BE49-F238E27FC236}">
                  <a16:creationId xmlns:a16="http://schemas.microsoft.com/office/drawing/2014/main" id="{8140B58C-FFE8-09D7-3025-F54F241DEC50}"/>
                </a:ext>
              </a:extLst>
            </p:cNvPr>
            <p:cNvSpPr/>
            <p:nvPr/>
          </p:nvSpPr>
          <p:spPr>
            <a:xfrm>
              <a:off x="3849920" y="186172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frica</a:t>
              </a:r>
              <a:endParaRPr lang="en-GB" sz="600" dirty="0">
                <a:solidFill>
                  <a:schemeClr val="bg1"/>
                </a:solidFill>
                <a:latin typeface="Bierstadt" panose="020B0004020202020204" pitchFamily="34" charset="0"/>
              </a:endParaRPr>
            </a:p>
          </p:txBody>
        </p:sp>
        <p:pic>
          <p:nvPicPr>
            <p:cNvPr id="1047" name="Graphic 1046">
              <a:extLst>
                <a:ext uri="{FF2B5EF4-FFF2-40B4-BE49-F238E27FC236}">
                  <a16:creationId xmlns:a16="http://schemas.microsoft.com/office/drawing/2014/main" id="{E6C27167-7703-52AC-C12E-EF8DF5777C68}"/>
                </a:ext>
              </a:extLst>
            </p:cNvPr>
            <p:cNvPicPr>
              <a:picLocks/>
            </p:cNvPicPr>
            <p:nvPr/>
          </p:nvPicPr>
          <p:blipFill>
            <a:blip r:embed="rId36">
              <a:extLst>
                <a:ext uri="{96DAC541-7B7A-43D3-8B79-37D633B846F1}">
                  <asvg:svgBlip xmlns:asvg="http://schemas.microsoft.com/office/drawing/2016/SVG/main" r:embed="rId37"/>
                </a:ext>
              </a:extLst>
            </a:blip>
            <a:stretch>
              <a:fillRect/>
            </a:stretch>
          </p:blipFill>
          <p:spPr>
            <a:xfrm>
              <a:off x="4125424" y="1676988"/>
              <a:ext cx="184737" cy="184737"/>
            </a:xfrm>
            <a:prstGeom prst="rect">
              <a:avLst/>
            </a:prstGeom>
          </p:spPr>
        </p:pic>
      </p:grpSp>
      <p:sp>
        <p:nvSpPr>
          <p:cNvPr id="1054" name="Rectangle 1053">
            <a:extLst>
              <a:ext uri="{FF2B5EF4-FFF2-40B4-BE49-F238E27FC236}">
                <a16:creationId xmlns:a16="http://schemas.microsoft.com/office/drawing/2014/main" id="{E670BFE6-5EAD-AD52-40EE-C97CB4030485}"/>
              </a:ext>
            </a:extLst>
          </p:cNvPr>
          <p:cNvSpPr/>
          <p:nvPr/>
        </p:nvSpPr>
        <p:spPr>
          <a:xfrm>
            <a:off x="4246187" y="163211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sia</a:t>
            </a:r>
            <a:endParaRPr lang="en-GB" sz="600" dirty="0">
              <a:solidFill>
                <a:schemeClr val="bg1"/>
              </a:solidFill>
              <a:latin typeface="Bierstadt" panose="020B0004020202020204" pitchFamily="34" charset="0"/>
            </a:endParaRPr>
          </a:p>
        </p:txBody>
      </p:sp>
      <p:pic>
        <p:nvPicPr>
          <p:cNvPr id="1056" name="Graphic 1055">
            <a:extLst>
              <a:ext uri="{FF2B5EF4-FFF2-40B4-BE49-F238E27FC236}">
                <a16:creationId xmlns:a16="http://schemas.microsoft.com/office/drawing/2014/main" id="{C5A91157-E375-7D55-19B6-5C6117A61521}"/>
              </a:ext>
            </a:extLst>
          </p:cNvPr>
          <p:cNvPicPr>
            <a:picLocks/>
          </p:cNvPicPr>
          <p:nvPr/>
        </p:nvPicPr>
        <p:blipFill>
          <a:blip r:embed="rId38">
            <a:extLst>
              <a:ext uri="{96DAC541-7B7A-43D3-8B79-37D633B846F1}">
                <asvg:svgBlip xmlns:asvg="http://schemas.microsoft.com/office/drawing/2016/SVG/main" r:embed="rId39"/>
              </a:ext>
            </a:extLst>
          </a:blip>
          <a:stretch>
            <a:fillRect/>
          </a:stretch>
        </p:blipFill>
        <p:spPr>
          <a:xfrm>
            <a:off x="4521691" y="1447378"/>
            <a:ext cx="184737" cy="184737"/>
          </a:xfrm>
          <a:prstGeom prst="rect">
            <a:avLst/>
          </a:prstGeom>
        </p:spPr>
      </p:pic>
      <p:grpSp>
        <p:nvGrpSpPr>
          <p:cNvPr id="1060" name="Group 1059">
            <a:extLst>
              <a:ext uri="{FF2B5EF4-FFF2-40B4-BE49-F238E27FC236}">
                <a16:creationId xmlns:a16="http://schemas.microsoft.com/office/drawing/2014/main" id="{31DEC152-21BC-7FC7-95A1-E0E2AEA6116E}"/>
              </a:ext>
            </a:extLst>
          </p:cNvPr>
          <p:cNvGrpSpPr/>
          <p:nvPr/>
        </p:nvGrpSpPr>
        <p:grpSpPr>
          <a:xfrm>
            <a:off x="4625791" y="1431219"/>
            <a:ext cx="735748" cy="325575"/>
            <a:chOff x="4677380" y="1385489"/>
            <a:chExt cx="735748" cy="325575"/>
          </a:xfrm>
        </p:grpSpPr>
        <p:sp>
          <p:nvSpPr>
            <p:cNvPr id="1058" name="Rectangle 1057">
              <a:extLst>
                <a:ext uri="{FF2B5EF4-FFF2-40B4-BE49-F238E27FC236}">
                  <a16:creationId xmlns:a16="http://schemas.microsoft.com/office/drawing/2014/main" id="{02792C57-F4BB-6B65-0A94-5602A2656D53}"/>
                </a:ext>
              </a:extLst>
            </p:cNvPr>
            <p:cNvSpPr/>
            <p:nvPr/>
          </p:nvSpPr>
          <p:spPr>
            <a:xfrm>
              <a:off x="4677380" y="1570226"/>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1057" name="Graphic 1056">
              <a:extLst>
                <a:ext uri="{FF2B5EF4-FFF2-40B4-BE49-F238E27FC236}">
                  <a16:creationId xmlns:a16="http://schemas.microsoft.com/office/drawing/2014/main" id="{1C0A7E55-3B59-5424-BAE3-4C1FBA0A7141}"/>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4952884" y="1385489"/>
              <a:ext cx="184737" cy="184737"/>
            </a:xfrm>
            <a:prstGeom prst="rect">
              <a:avLst/>
            </a:prstGeom>
          </p:spPr>
        </p:pic>
      </p:grpSp>
      <p:grpSp>
        <p:nvGrpSpPr>
          <p:cNvPr id="1061" name="Group 1060">
            <a:extLst>
              <a:ext uri="{FF2B5EF4-FFF2-40B4-BE49-F238E27FC236}">
                <a16:creationId xmlns:a16="http://schemas.microsoft.com/office/drawing/2014/main" id="{A6015B47-B30C-5FD6-A378-0F254AC0BA3C}"/>
              </a:ext>
            </a:extLst>
          </p:cNvPr>
          <p:cNvGrpSpPr/>
          <p:nvPr/>
        </p:nvGrpSpPr>
        <p:grpSpPr>
          <a:xfrm>
            <a:off x="292608" y="3645819"/>
            <a:ext cx="3082392" cy="232459"/>
            <a:chOff x="292608" y="1013780"/>
            <a:chExt cx="3082392" cy="232459"/>
          </a:xfrm>
        </p:grpSpPr>
        <p:cxnSp>
          <p:nvCxnSpPr>
            <p:cNvPr id="1062" name="Straight Connector 1061">
              <a:extLst>
                <a:ext uri="{FF2B5EF4-FFF2-40B4-BE49-F238E27FC236}">
                  <a16:creationId xmlns:a16="http://schemas.microsoft.com/office/drawing/2014/main" id="{E9CCCF08-08C8-EE98-C7A9-80C44E445D6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6" name="COMMENTARY_HEADER">
              <a:extLst>
                <a:ext uri="{FF2B5EF4-FFF2-40B4-BE49-F238E27FC236}">
                  <a16:creationId xmlns:a16="http://schemas.microsoft.com/office/drawing/2014/main" id="{91E72E01-23BD-F919-ED88-608D6E5189CB}"/>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Manager’s commentary and outlook</a:t>
              </a:r>
              <a:endParaRPr lang="en-GB" sz="1000" b="1" dirty="0">
                <a:solidFill>
                  <a:schemeClr val="bg1"/>
                </a:solidFill>
                <a:latin typeface="Bierstadt"/>
              </a:endParaRPr>
            </a:p>
          </p:txBody>
        </p:sp>
      </p:grpSp>
      <p:grpSp>
        <p:nvGrpSpPr>
          <p:cNvPr id="1077" name="Group 1076">
            <a:extLst>
              <a:ext uri="{FF2B5EF4-FFF2-40B4-BE49-F238E27FC236}">
                <a16:creationId xmlns:a16="http://schemas.microsoft.com/office/drawing/2014/main" id="{63B74288-F5DE-C540-D92A-62BFE1FE6B0E}"/>
              </a:ext>
            </a:extLst>
          </p:cNvPr>
          <p:cNvGrpSpPr/>
          <p:nvPr/>
        </p:nvGrpSpPr>
        <p:grpSpPr>
          <a:xfrm>
            <a:off x="3483000" y="3645819"/>
            <a:ext cx="3082392" cy="232459"/>
            <a:chOff x="292608" y="1013780"/>
            <a:chExt cx="3082392" cy="232459"/>
          </a:xfrm>
        </p:grpSpPr>
        <p:cxnSp>
          <p:nvCxnSpPr>
            <p:cNvPr id="1078" name="Straight Connector 1077">
              <a:extLst>
                <a:ext uri="{FF2B5EF4-FFF2-40B4-BE49-F238E27FC236}">
                  <a16:creationId xmlns:a16="http://schemas.microsoft.com/office/drawing/2014/main" id="{36B6E2A3-6B9B-7AEB-B920-3CE8677854C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9" name="Rectangle 1078">
              <a:extLst>
                <a:ext uri="{FF2B5EF4-FFF2-40B4-BE49-F238E27FC236}">
                  <a16:creationId xmlns:a16="http://schemas.microsoft.com/office/drawing/2014/main" id="{AD98B1AA-B101-E926-80DD-6DFD60DE89D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Fee details</a:t>
              </a:r>
              <a:endParaRPr lang="en-GB" sz="1000" b="1" dirty="0">
                <a:solidFill>
                  <a:schemeClr val="bg1"/>
                </a:solidFill>
                <a:latin typeface="Bierstadt"/>
              </a:endParaRPr>
            </a:p>
          </p:txBody>
        </p:sp>
      </p:grpSp>
      <p:sp>
        <p:nvSpPr>
          <p:cNvPr id="1080" name="COMMENTARY_TEXT">
            <a:extLst>
              <a:ext uri="{FF2B5EF4-FFF2-40B4-BE49-F238E27FC236}">
                <a16:creationId xmlns:a16="http://schemas.microsoft.com/office/drawing/2014/main" id="{323259A2-7335-3BC8-826B-B1452ECF431C}"/>
              </a:ext>
            </a:extLst>
          </p:cNvPr>
          <p:cNvSpPr txBox="1"/>
          <p:nvPr/>
        </p:nvSpPr>
        <p:spPr>
          <a:xfrm>
            <a:off x="292607" y="3878278"/>
            <a:ext cx="3082392" cy="327960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Commentary generation disabled: OPENAI_API_KEY not set.</a:t>
            </a:r>
          </a:p>
        </p:txBody>
      </p:sp>
      <p:grpSp>
        <p:nvGrpSpPr>
          <p:cNvPr id="1082" name="Group 1081">
            <a:extLst>
              <a:ext uri="{FF2B5EF4-FFF2-40B4-BE49-F238E27FC236}">
                <a16:creationId xmlns:a16="http://schemas.microsoft.com/office/drawing/2014/main" id="{16F62F2C-8EDD-7F9A-6CCB-82CC6BC3FC03}"/>
              </a:ext>
            </a:extLst>
          </p:cNvPr>
          <p:cNvGrpSpPr/>
          <p:nvPr/>
        </p:nvGrpSpPr>
        <p:grpSpPr>
          <a:xfrm>
            <a:off x="292608" y="7156098"/>
            <a:ext cx="3082392" cy="232459"/>
            <a:chOff x="292608" y="1013780"/>
            <a:chExt cx="3082392" cy="232459"/>
          </a:xfrm>
        </p:grpSpPr>
        <p:cxnSp>
          <p:nvCxnSpPr>
            <p:cNvPr id="1083" name="Straight Connector 1082">
              <a:extLst>
                <a:ext uri="{FF2B5EF4-FFF2-40B4-BE49-F238E27FC236}">
                  <a16:creationId xmlns:a16="http://schemas.microsoft.com/office/drawing/2014/main" id="{60BE3819-D082-A639-351A-65CA062DC3D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4" name="Rectangle 1083">
              <a:extLst>
                <a:ext uri="{FF2B5EF4-FFF2-40B4-BE49-F238E27FC236}">
                  <a16:creationId xmlns:a16="http://schemas.microsoft.com/office/drawing/2014/main" id="{E4D9E261-3588-EE68-8686-D487FFF50BF8}"/>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Investment platform</a:t>
              </a:r>
              <a:endParaRPr lang="en-GB" sz="1000" b="1" dirty="0">
                <a:solidFill>
                  <a:schemeClr val="bg1"/>
                </a:solidFill>
                <a:latin typeface="Bierstadt"/>
              </a:endParaRPr>
            </a:p>
          </p:txBody>
        </p:sp>
      </p:grpSp>
      <p:sp>
        <p:nvSpPr>
          <p:cNvPr id="1085" name="TextBox 1084">
            <a:extLst>
              <a:ext uri="{FF2B5EF4-FFF2-40B4-BE49-F238E27FC236}">
                <a16:creationId xmlns:a16="http://schemas.microsoft.com/office/drawing/2014/main" id="{7C2F41DD-E337-96EE-5548-96B24121BCEB}"/>
              </a:ext>
            </a:extLst>
          </p:cNvPr>
          <p:cNvSpPr txBox="1"/>
          <p:nvPr/>
        </p:nvSpPr>
        <p:spPr>
          <a:xfrm>
            <a:off x="292607" y="7388557"/>
            <a:ext cx="3082392" cy="507831"/>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Kukula uses the Saxo Bank/DMA platform. Investors are responsible for the associated platform fees and transaction costs. </a:t>
            </a:r>
          </a:p>
        </p:txBody>
      </p:sp>
      <p:grpSp>
        <p:nvGrpSpPr>
          <p:cNvPr id="1089" name="Group 1088">
            <a:extLst>
              <a:ext uri="{FF2B5EF4-FFF2-40B4-BE49-F238E27FC236}">
                <a16:creationId xmlns:a16="http://schemas.microsoft.com/office/drawing/2014/main" id="{7B8D818A-58BD-DE81-8D77-CDBA489AFA18}"/>
              </a:ext>
            </a:extLst>
          </p:cNvPr>
          <p:cNvGrpSpPr/>
          <p:nvPr/>
        </p:nvGrpSpPr>
        <p:grpSpPr>
          <a:xfrm>
            <a:off x="1794357" y="7746171"/>
            <a:ext cx="747129" cy="128203"/>
            <a:chOff x="1611477" y="7746171"/>
            <a:chExt cx="747129" cy="128203"/>
          </a:xfrm>
        </p:grpSpPr>
        <p:pic>
          <p:nvPicPr>
            <p:cNvPr id="1086" name="Picture 1085">
              <a:extLst>
                <a:ext uri="{FF2B5EF4-FFF2-40B4-BE49-F238E27FC236}">
                  <a16:creationId xmlns:a16="http://schemas.microsoft.com/office/drawing/2014/main" id="{D7283381-87BF-61DF-DFA2-2DCC78B785C3}"/>
                </a:ext>
              </a:extLst>
            </p:cNvPr>
            <p:cNvPicPr>
              <a:picLocks noChangeAspect="1"/>
            </p:cNvPicPr>
            <p:nvPr/>
          </p:nvPicPr>
          <p:blipFill>
            <a:blip r:embed="rId42">
              <a:extLst>
                <a:ext uri="{BEBA8EAE-BF5A-486C-A8C5-ECC9F3942E4B}">
                  <a14:imgProps xmlns:a14="http://schemas.microsoft.com/office/drawing/2010/main">
                    <a14:imgLayer r:embed="rId43">
                      <a14:imgEffect>
                        <a14:brightnessContrast bright="100000"/>
                      </a14:imgEffect>
                    </a14:imgLayer>
                  </a14:imgProps>
                </a:ext>
              </a:extLst>
            </a:blip>
            <a:stretch>
              <a:fillRect/>
            </a:stretch>
          </p:blipFill>
          <p:spPr>
            <a:xfrm>
              <a:off x="1611477" y="7746171"/>
              <a:ext cx="295284" cy="128203"/>
            </a:xfrm>
            <a:prstGeom prst="rect">
              <a:avLst/>
            </a:prstGeom>
          </p:spPr>
        </p:pic>
        <p:pic>
          <p:nvPicPr>
            <p:cNvPr id="1088" name="Picture 1087">
              <a:extLst>
                <a:ext uri="{FF2B5EF4-FFF2-40B4-BE49-F238E27FC236}">
                  <a16:creationId xmlns:a16="http://schemas.microsoft.com/office/drawing/2014/main" id="{1BBAF1CB-2454-4A7B-FC9F-F748A4F143F1}"/>
                </a:ext>
              </a:extLst>
            </p:cNvPr>
            <p:cNvPicPr>
              <a:picLocks noChangeAspect="1"/>
            </p:cNvPicPr>
            <p:nvPr/>
          </p:nvPicPr>
          <p:blipFill>
            <a:blip r:embed="rId44">
              <a:extLst>
                <a:ext uri="{BEBA8EAE-BF5A-486C-A8C5-ECC9F3942E4B}">
                  <a14:imgProps xmlns:a14="http://schemas.microsoft.com/office/drawing/2010/main">
                    <a14:imgLayer r:embed="rId45">
                      <a14:imgEffect>
                        <a14:brightnessContrast bright="100000"/>
                      </a14:imgEffect>
                    </a14:imgLayer>
                  </a14:imgProps>
                </a:ext>
              </a:extLst>
            </a:blip>
            <a:stretch>
              <a:fillRect/>
            </a:stretch>
          </p:blipFill>
          <p:spPr>
            <a:xfrm>
              <a:off x="2002893" y="7758968"/>
              <a:ext cx="355713" cy="102609"/>
            </a:xfrm>
            <a:prstGeom prst="rect">
              <a:avLst/>
            </a:prstGeom>
          </p:spPr>
        </p:pic>
      </p:grpSp>
      <p:sp>
        <p:nvSpPr>
          <p:cNvPr id="1090" name="TextBox 1089">
            <a:extLst>
              <a:ext uri="{FF2B5EF4-FFF2-40B4-BE49-F238E27FC236}">
                <a16:creationId xmlns:a16="http://schemas.microsoft.com/office/drawing/2014/main" id="{C10D8FCD-A37B-DDE8-B950-D8BD61E35EED}"/>
              </a:ext>
            </a:extLst>
          </p:cNvPr>
          <p:cNvSpPr txBox="1"/>
          <p:nvPr/>
        </p:nvSpPr>
        <p:spPr>
          <a:xfrm>
            <a:off x="3483000" y="3878278"/>
            <a:ext cx="3082392" cy="369332"/>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Portfolios are  managed on a discretionary basis and are subject to the following fees: </a:t>
            </a:r>
          </a:p>
        </p:txBody>
      </p:sp>
      <p:graphicFrame>
        <p:nvGraphicFramePr>
          <p:cNvPr id="1092" name="FEES_TABLE">
            <a:extLst>
              <a:ext uri="{FF2B5EF4-FFF2-40B4-BE49-F238E27FC236}">
                <a16:creationId xmlns:a16="http://schemas.microsoft.com/office/drawing/2014/main" id="{D1274BE3-4EFF-76CA-8ED5-C8EF8E1C3B53}"/>
              </a:ext>
            </a:extLst>
          </p:cNvPr>
          <p:cNvGraphicFramePr>
            <a:graphicFrameLocks noGrp="1"/>
          </p:cNvGraphicFramePr>
          <p:nvPr>
            <p:extLst>
              <p:ext uri="{D42A27DB-BD31-4B8C-83A1-F6EECF244321}">
                <p14:modId xmlns:p14="http://schemas.microsoft.com/office/powerpoint/2010/main" val="3458982352"/>
              </p:ext>
            </p:extLst>
          </p:nvPr>
        </p:nvGraphicFramePr>
        <p:xfrm>
          <a:off x="3483000" y="4282627"/>
          <a:ext cx="3082392" cy="1188720"/>
        </p:xfrm>
        <a:graphic>
          <a:graphicData uri="http://schemas.openxmlformats.org/drawingml/2006/table">
            <a:tbl>
              <a:tblPr firstRow="1" bandRow="1">
                <a:tableStyleId>{2D5ABB26-0587-4C30-8999-92F81FD0307C}</a:tableStyleId>
              </a:tblPr>
              <a:tblGrid>
                <a:gridCol w="2100103">
                  <a:extLst>
                    <a:ext uri="{9D8B030D-6E8A-4147-A177-3AD203B41FA5}">
                      <a16:colId xmlns:a16="http://schemas.microsoft.com/office/drawing/2014/main" val="787351053"/>
                    </a:ext>
                  </a:extLst>
                </a:gridCol>
                <a:gridCol w="982289">
                  <a:extLst>
                    <a:ext uri="{9D8B030D-6E8A-4147-A177-3AD203B41FA5}">
                      <a16:colId xmlns:a16="http://schemas.microsoft.com/office/drawing/2014/main" val="2002166547"/>
                    </a:ext>
                  </a:extLst>
                </a:gridCol>
              </a:tblGrid>
              <a:tr h="274320">
                <a:tc>
                  <a:txBody>
                    <a:bodyPr/>
                    <a:lstStyle/>
                    <a:p>
                      <a:r>
                        <a:rPr lang="en-US" sz="900" dirty="0">
                          <a:solidFill>
                            <a:schemeClr val="bg1"/>
                          </a:solidFill>
                        </a:rPr>
                        <a:t>Item</a:t>
                      </a:r>
                      <a:endParaRPr lang="en-GB" sz="900" dirty="0">
                        <a:solidFill>
                          <a:schemeClr val="bg1"/>
                        </a:solidFill>
                      </a:endParaRPr>
                    </a:p>
                  </a:txBody>
                  <a:tcPr/>
                </a:tc>
                <a:tc>
                  <a:txBody>
                    <a:bodyPr/>
                    <a:lstStyle/>
                    <a:p>
                      <a:pPr algn="ctr"/>
                      <a:r>
                        <a:rPr lang="en-GB" sz="900" dirty="0">
                          <a:solidFill>
                            <a:schemeClr val="bg1"/>
                          </a:solidFill>
                        </a:rPr>
                        <a:t>Value</a:t>
                      </a:r>
                    </a:p>
                  </a:txBody>
                  <a:tcPr/>
                </a:tc>
                <a:extLst>
                  <a:ext uri="{0D108BD9-81ED-4DB2-BD59-A6C34878D82A}">
                    <a16:rowId xmlns:a16="http://schemas.microsoft.com/office/drawing/2014/main" val="1221449719"/>
                  </a:ext>
                </a:extLst>
              </a:tr>
              <a:tr h="274320">
                <a:tc>
                  <a:txBody>
                    <a:bodyPr/>
                    <a:lstStyle/>
                    <a:p>
                      <a:r>
                        <a:rPr lang="en-GB" sz="900">
                          <a:solidFill>
                            <a:schemeClr val="bg1"/>
                          </a:solidFill>
                        </a:rPr>
                        <a:t>Annual Management Fee (Incl. VAT)</a:t>
                      </a:r>
                    </a:p>
                  </a:txBody>
                  <a:tcPr/>
                </a:tc>
                <a:tc>
                  <a:txBody>
                    <a:bodyPr/>
                    <a:lstStyle/>
                    <a:p>
                      <a:pPr algn="ctr"/>
                      <a:r>
                        <a:rPr lang="en-GB" sz="900">
                          <a:solidFill>
                            <a:schemeClr val="bg1"/>
                          </a:solidFill>
                        </a:rPr>
                        <a:t>1 %</a:t>
                      </a:r>
                    </a:p>
                  </a:txBody>
                  <a:tcPr/>
                </a:tc>
                <a:extLst>
                  <a:ext uri="{0D108BD9-81ED-4DB2-BD59-A6C34878D82A}">
                    <a16:rowId xmlns:a16="http://schemas.microsoft.com/office/drawing/2014/main" val="978931475"/>
                  </a:ext>
                </a:extLst>
              </a:tr>
              <a:tr h="274320">
                <a:tc>
                  <a:txBody>
                    <a:bodyPr/>
                    <a:lstStyle/>
                    <a:p>
                      <a:r>
                        <a:rPr lang="en-GB" sz="900">
                          <a:solidFill>
                            <a:schemeClr val="bg1"/>
                          </a:solidFill>
                        </a:rPr>
                        <a:t>Performance Fee</a:t>
                      </a:r>
                    </a:p>
                  </a:txBody>
                  <a:tcPr/>
                </a:tc>
                <a:tc>
                  <a:txBody>
                    <a:bodyPr/>
                    <a:lstStyle/>
                    <a:p>
                      <a:pPr algn="ctr"/>
                      <a:r>
                        <a:rPr lang="en-GB" sz="900">
                          <a:solidFill>
                            <a:schemeClr val="bg1"/>
                          </a:solidFill>
                        </a:rPr>
                        <a:t>None</a:t>
                      </a:r>
                    </a:p>
                  </a:txBody>
                  <a:tcPr/>
                </a:tc>
                <a:extLst>
                  <a:ext uri="{0D108BD9-81ED-4DB2-BD59-A6C34878D82A}">
                    <a16:rowId xmlns:a16="http://schemas.microsoft.com/office/drawing/2014/main" val="3512116622"/>
                  </a:ext>
                </a:extLst>
              </a:tr>
              <a:tr h="365760">
                <a:tc>
                  <a:txBody>
                    <a:bodyPr/>
                    <a:lstStyle/>
                    <a:p>
                      <a:r>
                        <a:rPr lang="en-GB" sz="900" dirty="0">
                          <a:solidFill>
                            <a:schemeClr val="bg1"/>
                          </a:solidFill>
                        </a:rPr>
                        <a:t>Transaction Costs &amp; Commissions</a:t>
                      </a:r>
                    </a:p>
                  </a:txBody>
                  <a:tcPr/>
                </a:tc>
                <a:tc>
                  <a:txBody>
                    <a:bodyPr/>
                    <a:lstStyle/>
                    <a:p>
                      <a:pPr algn="ctr"/>
                      <a:r>
                        <a:rPr lang="fi-FI" sz="900" dirty="0">
                          <a:solidFill>
                            <a:schemeClr val="bg1"/>
                          </a:solidFill>
                        </a:rPr>
                        <a:t>See schedule</a:t>
                      </a:r>
                      <a:endParaRPr lang="en-GB" sz="900" dirty="0">
                        <a:solidFill>
                          <a:schemeClr val="bg1"/>
                        </a:solidFill>
                      </a:endParaRPr>
                    </a:p>
                  </a:txBody>
                  <a:tcPr/>
                </a:tc>
                <a:extLst>
                  <a:ext uri="{0D108BD9-81ED-4DB2-BD59-A6C34878D82A}">
                    <a16:rowId xmlns:a16="http://schemas.microsoft.com/office/drawing/2014/main" val="775751832"/>
                  </a:ext>
                </a:extLst>
              </a:tr>
            </a:tbl>
          </a:graphicData>
        </a:graphic>
      </p:graphicFrame>
      <p:grpSp>
        <p:nvGrpSpPr>
          <p:cNvPr id="1093" name="Group 1092">
            <a:extLst>
              <a:ext uri="{FF2B5EF4-FFF2-40B4-BE49-F238E27FC236}">
                <a16:creationId xmlns:a16="http://schemas.microsoft.com/office/drawing/2014/main" id="{187DFE29-FCB0-4BE8-C371-3A8A6037B1EA}"/>
              </a:ext>
            </a:extLst>
          </p:cNvPr>
          <p:cNvGrpSpPr/>
          <p:nvPr/>
        </p:nvGrpSpPr>
        <p:grpSpPr>
          <a:xfrm>
            <a:off x="3483000" y="6681577"/>
            <a:ext cx="3082392" cy="232459"/>
            <a:chOff x="292608" y="1013780"/>
            <a:chExt cx="3082392" cy="232459"/>
          </a:xfrm>
        </p:grpSpPr>
        <p:cxnSp>
          <p:nvCxnSpPr>
            <p:cNvPr id="1094" name="Straight Connector 1093">
              <a:extLst>
                <a:ext uri="{FF2B5EF4-FFF2-40B4-BE49-F238E27FC236}">
                  <a16:creationId xmlns:a16="http://schemas.microsoft.com/office/drawing/2014/main" id="{8A053FAC-BB54-C262-46C1-72164E63F0EF}"/>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95" name="Rectangle 1094">
              <a:extLst>
                <a:ext uri="{FF2B5EF4-FFF2-40B4-BE49-F238E27FC236}">
                  <a16:creationId xmlns:a16="http://schemas.microsoft.com/office/drawing/2014/main" id="{253824F6-E8DB-AE96-9FCC-4482C5BC8A1E}"/>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Custody arrangement</a:t>
              </a:r>
              <a:endParaRPr lang="en-GB" sz="1000" b="1" dirty="0">
                <a:solidFill>
                  <a:schemeClr val="bg1"/>
                </a:solidFill>
                <a:latin typeface="Bierstadt"/>
              </a:endParaRPr>
            </a:p>
          </p:txBody>
        </p:sp>
      </p:grpSp>
      <p:sp>
        <p:nvSpPr>
          <p:cNvPr id="1096" name="TextBox 1095">
            <a:extLst>
              <a:ext uri="{FF2B5EF4-FFF2-40B4-BE49-F238E27FC236}">
                <a16:creationId xmlns:a16="http://schemas.microsoft.com/office/drawing/2014/main" id="{DC300D0E-2855-8FE4-958F-C4D783103B35}"/>
              </a:ext>
            </a:extLst>
          </p:cNvPr>
          <p:cNvSpPr txBox="1"/>
          <p:nvPr/>
        </p:nvSpPr>
        <p:spPr>
          <a:xfrm>
            <a:off x="3483000" y="6914036"/>
            <a:ext cx="3082392" cy="92333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ll securities are held with CITI Group in the name of Saxo Bank and segregated in the name of DMA Mauritius. A full sub-register is maintained for the beneficial owner of the assets, which are reported live via the available platforms. Positions are settled daily and reconciled against the custodian.</a:t>
            </a:r>
          </a:p>
        </p:txBody>
      </p:sp>
      <p:pic>
        <p:nvPicPr>
          <p:cNvPr id="1097" name="Picture 1096">
            <a:extLst>
              <a:ext uri="{FF2B5EF4-FFF2-40B4-BE49-F238E27FC236}">
                <a16:creationId xmlns:a16="http://schemas.microsoft.com/office/drawing/2014/main" id="{0034B60D-EAD9-43F5-0AC7-B3BF7ADD7D6C}"/>
              </a:ext>
            </a:extLst>
          </p:cNvPr>
          <p:cNvPicPr>
            <a:picLocks noChangeAspect="1"/>
          </p:cNvPicPr>
          <p:nvPr/>
        </p:nvPicPr>
        <p:blipFill>
          <a:blip r:embed="rId46">
            <a:extLst>
              <a:ext uri="{BEBA8EAE-BF5A-486C-A8C5-ECC9F3942E4B}">
                <a14:imgProps xmlns:a14="http://schemas.microsoft.com/office/drawing/2010/main">
                  <a14:imgLayer r:embed="rId47">
                    <a14:imgEffect>
                      <a14:brightnessContrast bright="100000"/>
                    </a14:imgEffect>
                  </a14:imgLayer>
                </a14:imgProps>
              </a:ext>
            </a:extLst>
          </a:blip>
          <a:stretch>
            <a:fillRect/>
          </a:stretch>
        </p:blipFill>
        <p:spPr>
          <a:xfrm>
            <a:off x="4176124" y="7694086"/>
            <a:ext cx="268440" cy="174381"/>
          </a:xfrm>
          <a:prstGeom prst="rect">
            <a:avLst/>
          </a:prstGeom>
        </p:spPr>
      </p:pic>
      <p:grpSp>
        <p:nvGrpSpPr>
          <p:cNvPr id="8" name="Group 7">
            <a:extLst>
              <a:ext uri="{FF2B5EF4-FFF2-40B4-BE49-F238E27FC236}">
                <a16:creationId xmlns:a16="http://schemas.microsoft.com/office/drawing/2014/main" id="{CA34CC3D-ECA9-657D-4BE5-07CA9BF1A4DF}"/>
              </a:ext>
            </a:extLst>
          </p:cNvPr>
          <p:cNvGrpSpPr/>
          <p:nvPr/>
        </p:nvGrpSpPr>
        <p:grpSpPr>
          <a:xfrm>
            <a:off x="3483000" y="5394543"/>
            <a:ext cx="3082392" cy="232459"/>
            <a:chOff x="292608" y="1013780"/>
            <a:chExt cx="3082392" cy="232459"/>
          </a:xfrm>
        </p:grpSpPr>
        <p:cxnSp>
          <p:nvCxnSpPr>
            <p:cNvPr id="9" name="Straight Connector 8">
              <a:extLst>
                <a:ext uri="{FF2B5EF4-FFF2-40B4-BE49-F238E27FC236}">
                  <a16:creationId xmlns:a16="http://schemas.microsoft.com/office/drawing/2014/main" id="{62287BB3-EB82-E44D-C789-987308439917}"/>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2993028-7690-328C-2008-71AD6E6070D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Risk profile: Moderate to high</a:t>
              </a:r>
            </a:p>
          </p:txBody>
        </p:sp>
      </p:grpSp>
      <p:sp>
        <p:nvSpPr>
          <p:cNvPr id="15" name="TextBox 14">
            <a:extLst>
              <a:ext uri="{FF2B5EF4-FFF2-40B4-BE49-F238E27FC236}">
                <a16:creationId xmlns:a16="http://schemas.microsoft.com/office/drawing/2014/main" id="{BB650FBF-C6E6-1B4B-B096-B08DF6A76B9F}"/>
              </a:ext>
            </a:extLst>
          </p:cNvPr>
          <p:cNvSpPr txBox="1"/>
          <p:nvPr/>
        </p:nvSpPr>
        <p:spPr>
          <a:xfrm>
            <a:off x="3482999" y="5640856"/>
            <a:ext cx="3082392" cy="10618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portfolio invests exclusively in equiti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Suitable for medium- to long-term investment horiz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Exposed to market risk and broader economic fluctu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Offshore holdings may introduce additional currency risk.</a:t>
            </a:r>
          </a:p>
        </p:txBody>
      </p:sp>
      <p:graphicFrame>
        <p:nvGraphicFramePr>
          <p:cNvPr id="19" name="PIE_SECTOR">
            <a:extLst>
              <a:ext uri="{FF2B5EF4-FFF2-40B4-BE49-F238E27FC236}">
                <a16:creationId xmlns:a16="http://schemas.microsoft.com/office/drawing/2014/main" id="{D2CBA324-1F53-F6AE-B7AD-2A492A5AEB03}"/>
              </a:ext>
            </a:extLst>
          </p:cNvPr>
          <p:cNvGraphicFramePr/>
          <p:nvPr>
            <p:extLst>
              <p:ext uri="{D42A27DB-BD31-4B8C-83A1-F6EECF244321}">
                <p14:modId xmlns:p14="http://schemas.microsoft.com/office/powerpoint/2010/main" val="2313099284"/>
              </p:ext>
            </p:extLst>
          </p:nvPr>
        </p:nvGraphicFramePr>
        <p:xfrm>
          <a:off x="179636" y="1369215"/>
          <a:ext cx="3308336" cy="2599281"/>
        </p:xfrm>
        <a:graphic>
          <a:graphicData uri="http://schemas.openxmlformats.org/drawingml/2006/chart">
            <c:chart xmlns:c="http://schemas.openxmlformats.org/drawingml/2006/chart" xmlns:r="http://schemas.openxmlformats.org/officeDocument/2006/relationships" r:id="rId48"/>
          </a:graphicData>
        </a:graphic>
      </p:graphicFrame>
      <p:graphicFrame>
        <p:nvGraphicFramePr>
          <p:cNvPr id="24" name="PIE_REGION">
            <a:extLst>
              <a:ext uri="{FF2B5EF4-FFF2-40B4-BE49-F238E27FC236}">
                <a16:creationId xmlns:a16="http://schemas.microsoft.com/office/drawing/2014/main" id="{5A1279A8-4FC1-1BCB-FBA4-B5D2FDD41E17}"/>
              </a:ext>
            </a:extLst>
          </p:cNvPr>
          <p:cNvGraphicFramePr/>
          <p:nvPr>
            <p:extLst>
              <p:ext uri="{D42A27DB-BD31-4B8C-83A1-F6EECF244321}">
                <p14:modId xmlns:p14="http://schemas.microsoft.com/office/powerpoint/2010/main" val="2252226221"/>
              </p:ext>
            </p:extLst>
          </p:nvPr>
        </p:nvGraphicFramePr>
        <p:xfrm>
          <a:off x="3370028" y="1369215"/>
          <a:ext cx="3308336" cy="2599281"/>
        </p:xfrm>
        <a:graphic>
          <a:graphicData uri="http://schemas.openxmlformats.org/drawingml/2006/chart">
            <c:chart xmlns:c="http://schemas.openxmlformats.org/drawingml/2006/chart" xmlns:r="http://schemas.openxmlformats.org/officeDocument/2006/relationships" r:id="rId49"/>
          </a:graphicData>
        </a:graphic>
      </p:graphicFrame>
    </p:spTree>
    <p:extLst>
      <p:ext uri="{BB962C8B-B14F-4D97-AF65-F5344CB8AC3E}">
        <p14:creationId xmlns:p14="http://schemas.microsoft.com/office/powerpoint/2010/main" val="2308560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Kukula capital">
      <a:dk1>
        <a:srgbClr val="000000"/>
      </a:dk1>
      <a:lt1>
        <a:srgbClr val="FFFFFF"/>
      </a:lt1>
      <a:dk2>
        <a:srgbClr val="A6A6A6"/>
      </a:dk2>
      <a:lt2>
        <a:srgbClr val="F2F2F2"/>
      </a:lt2>
      <a:accent1>
        <a:srgbClr val="466835"/>
      </a:accent1>
      <a:accent2>
        <a:srgbClr val="A6A6A6"/>
      </a:accent2>
      <a:accent3>
        <a:srgbClr val="F2F2F2"/>
      </a:accent3>
      <a:accent4>
        <a:srgbClr val="E2F0D9"/>
      </a:accent4>
      <a:accent5>
        <a:srgbClr val="549E39"/>
      </a:accent5>
      <a:accent6>
        <a:srgbClr val="385723"/>
      </a:accent6>
      <a:hlink>
        <a:srgbClr val="000000"/>
      </a:hlink>
      <a:folHlink>
        <a:srgbClr val="0000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C79DDE9-9681-4839-A726-05A6EE002B45}">
  <we:reference id="wa104381063" version="1.0.0.1" store="en-US" storeType="OMEX"/>
  <we:alternateReferences>
    <we:reference id="WA104381063" version="1.0.0.1" store="da-DK"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3443</TotalTime>
  <Words>1064</Words>
  <Application>Microsoft Office PowerPoint</Application>
  <PresentationFormat>A4 Paper (210x297 mm)</PresentationFormat>
  <Paragraphs>279</Paragraphs>
  <Slides>2</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vt:i4>
      </vt:variant>
    </vt:vector>
  </HeadingPairs>
  <TitlesOfParts>
    <vt:vector size="9" baseType="lpstr">
      <vt:lpstr>Arial</vt:lpstr>
      <vt:lpstr>Bierstadt</vt:lpstr>
      <vt:lpstr>Calibri</vt:lpstr>
      <vt:lpstr>Calibri Light</vt:lpstr>
      <vt:lpstr>Helvetica</vt:lpstr>
      <vt:lpstr>Skeena</vt:lpstr>
      <vt:lpstr>Office Them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us Bak</dc:creator>
  <cp:lastModifiedBy>Henning Olweus - Implement Consulting Group</cp:lastModifiedBy>
  <cp:revision>22</cp:revision>
  <dcterms:created xsi:type="dcterms:W3CDTF">2021-05-24T08:47:30Z</dcterms:created>
  <dcterms:modified xsi:type="dcterms:W3CDTF">2025-10-29T13:48:59Z</dcterms:modified>
</cp:coreProperties>
</file>